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7"/>
  </p:notesMasterIdLst>
  <p:sldIdLst>
    <p:sldId id="284" r:id="rId2"/>
    <p:sldId id="424" r:id="rId3"/>
    <p:sldId id="425" r:id="rId4"/>
    <p:sldId id="418" r:id="rId5"/>
    <p:sldId id="419" r:id="rId6"/>
    <p:sldId id="807" r:id="rId7"/>
    <p:sldId id="423" r:id="rId8"/>
    <p:sldId id="426" r:id="rId9"/>
    <p:sldId id="804" r:id="rId10"/>
    <p:sldId id="806" r:id="rId11"/>
    <p:sldId id="469" r:id="rId12"/>
    <p:sldId id="448" r:id="rId13"/>
    <p:sldId id="810" r:id="rId14"/>
    <p:sldId id="427" r:id="rId15"/>
    <p:sldId id="813" r:id="rId16"/>
    <p:sldId id="435" r:id="rId17"/>
    <p:sldId id="436" r:id="rId18"/>
    <p:sldId id="437" r:id="rId19"/>
    <p:sldId id="811" r:id="rId20"/>
    <p:sldId id="441" r:id="rId21"/>
    <p:sldId id="440" r:id="rId22"/>
    <p:sldId id="445" r:id="rId23"/>
    <p:sldId id="308" r:id="rId24"/>
    <p:sldId id="257" r:id="rId25"/>
    <p:sldId id="274" r:id="rId26"/>
    <p:sldId id="309" r:id="rId27"/>
    <p:sldId id="310" r:id="rId28"/>
    <p:sldId id="265" r:id="rId29"/>
    <p:sldId id="263" r:id="rId30"/>
    <p:sldId id="266" r:id="rId31"/>
    <p:sldId id="269" r:id="rId32"/>
    <p:sldId id="264" r:id="rId33"/>
    <p:sldId id="270" r:id="rId34"/>
    <p:sldId id="809" r:id="rId35"/>
    <p:sldId id="352"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ndwell Mwangi" initials="BM" lastIdx="2" clrIdx="0">
    <p:extLst>
      <p:ext uri="{19B8F6BF-5375-455C-9EA6-DF929625EA0E}">
        <p15:presenceInfo xmlns:p15="http://schemas.microsoft.com/office/powerpoint/2012/main" userId="a4281d2b6c23017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59" d="100"/>
          <a:sy n="59" d="100"/>
        </p:scale>
        <p:origin x="892"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iagrams/_rels/data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image" Target="../media/image13.png"/></Relationships>
</file>

<file path=ppt/diagrams/_rels/data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image" Target="../media/image16.jpg"/></Relationships>
</file>

<file path=ppt/diagrams/_rels/data9.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eg"/><Relationship Id="rId1" Type="http://schemas.openxmlformats.org/officeDocument/2006/relationships/image" Target="../media/image20.gif"/><Relationship Id="rId4" Type="http://schemas.openxmlformats.org/officeDocument/2006/relationships/image" Target="../media/image23.png"/></Relationships>
</file>

<file path=ppt/diagrams/_rels/drawing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image" Target="../media/image13.png"/></Relationships>
</file>

<file path=ppt/diagrams/_rels/drawing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image" Target="../media/image16.jpg"/></Relationships>
</file>

<file path=ppt/diagrams/_rels/drawing9.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eg"/><Relationship Id="rId1" Type="http://schemas.openxmlformats.org/officeDocument/2006/relationships/image" Target="../media/image20.gif"/><Relationship Id="rId4"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6E5C3D-B729-41F9-99FF-56ED6A3CEE76}"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124D4144-7C57-4B9B-8D3E-E329B6A6288B}">
      <dgm:prSet phldrT="[Text]"/>
      <dgm:spPr/>
      <dgm:t>
        <a:bodyPr/>
        <a:lstStyle/>
        <a:p>
          <a:r>
            <a:rPr lang="en-US"/>
            <a:t>SNS can be particularly useful in finding key populations and others who are at risk for HIV but have not had easy access to HTS</a:t>
          </a:r>
          <a:endParaRPr lang="en-US" dirty="0"/>
        </a:p>
      </dgm:t>
    </dgm:pt>
    <dgm:pt modelId="{5AF41A8B-EF68-457C-8FDC-3017FFBFA828}" type="parTrans" cxnId="{9B4399E6-B261-4D5E-B3BD-73EF6A8B1B31}">
      <dgm:prSet/>
      <dgm:spPr/>
      <dgm:t>
        <a:bodyPr/>
        <a:lstStyle/>
        <a:p>
          <a:endParaRPr lang="en-US"/>
        </a:p>
      </dgm:t>
    </dgm:pt>
    <dgm:pt modelId="{1A4F9C37-3D1B-4824-9B72-145D5F2CFC1E}" type="sibTrans" cxnId="{9B4399E6-B261-4D5E-B3BD-73EF6A8B1B31}">
      <dgm:prSet/>
      <dgm:spPr/>
      <dgm:t>
        <a:bodyPr/>
        <a:lstStyle/>
        <a:p>
          <a:endParaRPr lang="en-US"/>
        </a:p>
      </dgm:t>
    </dgm:pt>
    <dgm:pt modelId="{5F2D8C89-9C39-4A7E-B885-B8113D7F70E0}">
      <dgm:prSet phldrT="[Text]"/>
      <dgm:spPr/>
      <dgm:t>
        <a:bodyPr/>
        <a:lstStyle/>
        <a:p>
          <a:r>
            <a:rPr lang="en-US" b="0" dirty="0"/>
            <a:t>A </a:t>
          </a:r>
          <a:r>
            <a:rPr lang="en-US" i="0" dirty="0"/>
            <a:t>recruitment</a:t>
          </a:r>
          <a:r>
            <a:rPr lang="en-US" i="1" dirty="0"/>
            <a:t> </a:t>
          </a:r>
          <a:r>
            <a:rPr lang="en-US" b="0" dirty="0"/>
            <a:t>strategy for reaching and providing HIV counseling, testing, and referral services (HTS) to persons who are </a:t>
          </a:r>
          <a:r>
            <a:rPr lang="en-US" i="0" dirty="0"/>
            <a:t>unaware</a:t>
          </a:r>
          <a:r>
            <a:rPr lang="en-US" i="1" dirty="0"/>
            <a:t> </a:t>
          </a:r>
          <a:r>
            <a:rPr lang="en-US" b="0" dirty="0"/>
            <a:t>of their HIV infection by using </a:t>
          </a:r>
          <a:r>
            <a:rPr lang="en-US" dirty="0"/>
            <a:t>social network connections to locate individuals at the highest risk for </a:t>
          </a:r>
          <a:r>
            <a:rPr lang="en-US" i="0" dirty="0"/>
            <a:t>HIV</a:t>
          </a:r>
          <a:r>
            <a:rPr lang="en-US" dirty="0"/>
            <a:t> </a:t>
          </a:r>
        </a:p>
      </dgm:t>
    </dgm:pt>
    <dgm:pt modelId="{5CE0B527-C3C2-4524-B497-22857109751A}" type="parTrans" cxnId="{DB2F41E9-865F-4182-A462-2BA52A54540D}">
      <dgm:prSet/>
      <dgm:spPr/>
      <dgm:t>
        <a:bodyPr/>
        <a:lstStyle/>
        <a:p>
          <a:endParaRPr lang="en-US"/>
        </a:p>
      </dgm:t>
    </dgm:pt>
    <dgm:pt modelId="{AD335F5B-C71C-4F3D-B6FB-C572BDA6E9A0}" type="sibTrans" cxnId="{DB2F41E9-865F-4182-A462-2BA52A54540D}">
      <dgm:prSet/>
      <dgm:spPr/>
      <dgm:t>
        <a:bodyPr/>
        <a:lstStyle/>
        <a:p>
          <a:endParaRPr lang="en-US"/>
        </a:p>
      </dgm:t>
    </dgm:pt>
    <dgm:pt modelId="{24774100-85E3-4080-BBD0-90A381F37DE3}" type="pres">
      <dgm:prSet presAssocID="{766E5C3D-B729-41F9-99FF-56ED6A3CEE76}" presName="linear" presStyleCnt="0">
        <dgm:presLayoutVars>
          <dgm:animLvl val="lvl"/>
          <dgm:resizeHandles val="exact"/>
        </dgm:presLayoutVars>
      </dgm:prSet>
      <dgm:spPr/>
    </dgm:pt>
    <dgm:pt modelId="{6BD624DA-64F7-4262-8970-B2B3DB0E3196}" type="pres">
      <dgm:prSet presAssocID="{5F2D8C89-9C39-4A7E-B885-B8113D7F70E0}" presName="parentText" presStyleLbl="node1" presStyleIdx="0" presStyleCnt="2" custScaleX="95135">
        <dgm:presLayoutVars>
          <dgm:chMax val="0"/>
          <dgm:bulletEnabled val="1"/>
        </dgm:presLayoutVars>
      </dgm:prSet>
      <dgm:spPr/>
    </dgm:pt>
    <dgm:pt modelId="{7994FD78-38A7-4C52-9552-1BC0E1806D85}" type="pres">
      <dgm:prSet presAssocID="{AD335F5B-C71C-4F3D-B6FB-C572BDA6E9A0}" presName="spacer" presStyleCnt="0"/>
      <dgm:spPr/>
    </dgm:pt>
    <dgm:pt modelId="{49B61D70-13CA-44B0-9308-E46087BF8383}" type="pres">
      <dgm:prSet presAssocID="{124D4144-7C57-4B9B-8D3E-E329B6A6288B}" presName="parentText" presStyleLbl="node1" presStyleIdx="1" presStyleCnt="2" custLinFactY="34803" custLinFactNeighborX="-6359" custLinFactNeighborY="100000">
        <dgm:presLayoutVars>
          <dgm:chMax val="0"/>
          <dgm:bulletEnabled val="1"/>
        </dgm:presLayoutVars>
      </dgm:prSet>
      <dgm:spPr/>
    </dgm:pt>
  </dgm:ptLst>
  <dgm:cxnLst>
    <dgm:cxn modelId="{B019DF31-8800-45B7-8282-0EF82011AD03}" type="presOf" srcId="{124D4144-7C57-4B9B-8D3E-E329B6A6288B}" destId="{49B61D70-13CA-44B0-9308-E46087BF8383}" srcOrd="0" destOrd="0" presId="urn:microsoft.com/office/officeart/2005/8/layout/vList2"/>
    <dgm:cxn modelId="{6B6DC846-1E62-4D22-8050-F9076B9CE424}" type="presOf" srcId="{5F2D8C89-9C39-4A7E-B885-B8113D7F70E0}" destId="{6BD624DA-64F7-4262-8970-B2B3DB0E3196}" srcOrd="0" destOrd="0" presId="urn:microsoft.com/office/officeart/2005/8/layout/vList2"/>
    <dgm:cxn modelId="{7C41664F-0055-4AA6-9CD6-D8804F4CE6AC}" type="presOf" srcId="{766E5C3D-B729-41F9-99FF-56ED6A3CEE76}" destId="{24774100-85E3-4080-BBD0-90A381F37DE3}" srcOrd="0" destOrd="0" presId="urn:microsoft.com/office/officeart/2005/8/layout/vList2"/>
    <dgm:cxn modelId="{9B4399E6-B261-4D5E-B3BD-73EF6A8B1B31}" srcId="{766E5C3D-B729-41F9-99FF-56ED6A3CEE76}" destId="{124D4144-7C57-4B9B-8D3E-E329B6A6288B}" srcOrd="1" destOrd="0" parTransId="{5AF41A8B-EF68-457C-8FDC-3017FFBFA828}" sibTransId="{1A4F9C37-3D1B-4824-9B72-145D5F2CFC1E}"/>
    <dgm:cxn modelId="{DB2F41E9-865F-4182-A462-2BA52A54540D}" srcId="{766E5C3D-B729-41F9-99FF-56ED6A3CEE76}" destId="{5F2D8C89-9C39-4A7E-B885-B8113D7F70E0}" srcOrd="0" destOrd="0" parTransId="{5CE0B527-C3C2-4524-B497-22857109751A}" sibTransId="{AD335F5B-C71C-4F3D-B6FB-C572BDA6E9A0}"/>
    <dgm:cxn modelId="{8373EE3C-C252-4728-BE9F-6125231EA9D6}" type="presParOf" srcId="{24774100-85E3-4080-BBD0-90A381F37DE3}" destId="{6BD624DA-64F7-4262-8970-B2B3DB0E3196}" srcOrd="0" destOrd="0" presId="urn:microsoft.com/office/officeart/2005/8/layout/vList2"/>
    <dgm:cxn modelId="{AA191EC2-7248-42E4-8F96-5F7A624809B8}" type="presParOf" srcId="{24774100-85E3-4080-BBD0-90A381F37DE3}" destId="{7994FD78-38A7-4C52-9552-1BC0E1806D85}" srcOrd="1" destOrd="0" presId="urn:microsoft.com/office/officeart/2005/8/layout/vList2"/>
    <dgm:cxn modelId="{BFA51D31-7ECE-474B-8180-BF1DA5E0D5A4}" type="presParOf" srcId="{24774100-85E3-4080-BBD0-90A381F37DE3}" destId="{49B61D70-13CA-44B0-9308-E46087BF8383}"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DDBD053-BD55-444E-9EFC-7EE87097B50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14E309C-6E20-45DA-9BDF-087291A4C855}">
      <dgm:prSet phldrT="[Text]"/>
      <dgm:spPr>
        <a:solidFill>
          <a:schemeClr val="tx2">
            <a:lumMod val="75000"/>
          </a:schemeClr>
        </a:solidFill>
      </dgm:spPr>
      <dgm:t>
        <a:bodyPr/>
        <a:lstStyle/>
        <a:p>
          <a:r>
            <a:rPr lang="en-US" b="0" u="sng" dirty="0"/>
            <a:t>Underlying assumption</a:t>
          </a:r>
          <a:r>
            <a:rPr lang="en-US" b="0" u="none" dirty="0"/>
            <a:t> </a:t>
          </a:r>
          <a:r>
            <a:rPr lang="en-US" b="0" dirty="0"/>
            <a:t>– People in the same social network share similar risk behaviors for HIV</a:t>
          </a:r>
          <a:endParaRPr lang="en-US" dirty="0"/>
        </a:p>
      </dgm:t>
    </dgm:pt>
    <dgm:pt modelId="{3CCF561D-6CDC-46E5-AB3B-762A6168FE98}" type="parTrans" cxnId="{31A6A537-6083-4F34-8D61-B3012DE104D7}">
      <dgm:prSet/>
      <dgm:spPr/>
      <dgm:t>
        <a:bodyPr/>
        <a:lstStyle/>
        <a:p>
          <a:endParaRPr lang="en-US"/>
        </a:p>
      </dgm:t>
    </dgm:pt>
    <dgm:pt modelId="{FF075B61-783F-4166-BF44-62FACB08EAF3}" type="sibTrans" cxnId="{31A6A537-6083-4F34-8D61-B3012DE104D7}">
      <dgm:prSet/>
      <dgm:spPr/>
      <dgm:t>
        <a:bodyPr/>
        <a:lstStyle/>
        <a:p>
          <a:endParaRPr lang="en-US"/>
        </a:p>
      </dgm:t>
    </dgm:pt>
    <dgm:pt modelId="{1F65D9E5-8DD9-4EB8-B766-F4E139E8124E}">
      <dgm:prSet/>
      <dgm:spPr>
        <a:solidFill>
          <a:schemeClr val="tx2">
            <a:lumMod val="75000"/>
          </a:schemeClr>
        </a:solidFill>
      </dgm:spPr>
      <dgm:t>
        <a:bodyPr/>
        <a:lstStyle/>
        <a:p>
          <a:r>
            <a:rPr lang="en-US" b="0" u="sng" dirty="0"/>
            <a:t>Overall strategy</a:t>
          </a:r>
          <a:r>
            <a:rPr lang="en-US" b="0" u="none" dirty="0"/>
            <a:t> </a:t>
          </a:r>
          <a:r>
            <a:rPr lang="en-US" b="0" dirty="0"/>
            <a:t>– Enlist PLHIV and high-risk, HIV-negative persons (</a:t>
          </a:r>
          <a:r>
            <a:rPr lang="en-US" dirty="0">
              <a:solidFill>
                <a:srgbClr val="42B0D2"/>
              </a:solidFill>
            </a:rPr>
            <a:t>recruiters</a:t>
          </a:r>
          <a:r>
            <a:rPr lang="en-US" dirty="0"/>
            <a:t>)</a:t>
          </a:r>
          <a:r>
            <a:rPr lang="en-US" b="0" dirty="0"/>
            <a:t> to identify individuals from their social, sexual, and drug-using networks (</a:t>
          </a:r>
          <a:r>
            <a:rPr lang="en-US" dirty="0">
              <a:solidFill>
                <a:srgbClr val="42B0D2"/>
              </a:solidFill>
            </a:rPr>
            <a:t>network members</a:t>
          </a:r>
          <a:r>
            <a:rPr lang="en-US" b="0" dirty="0"/>
            <a:t>) for HTS </a:t>
          </a:r>
        </a:p>
      </dgm:t>
    </dgm:pt>
    <dgm:pt modelId="{F731A86D-398E-4B7A-A39F-0D27746B8D29}" type="parTrans" cxnId="{FA6F9D34-71F9-450F-A6F7-B7185164F8BE}">
      <dgm:prSet/>
      <dgm:spPr/>
      <dgm:t>
        <a:bodyPr/>
        <a:lstStyle/>
        <a:p>
          <a:endParaRPr lang="en-US"/>
        </a:p>
      </dgm:t>
    </dgm:pt>
    <dgm:pt modelId="{9656232E-82BF-4782-8D5C-80BB1435E302}" type="sibTrans" cxnId="{FA6F9D34-71F9-450F-A6F7-B7185164F8BE}">
      <dgm:prSet/>
      <dgm:spPr/>
      <dgm:t>
        <a:bodyPr/>
        <a:lstStyle/>
        <a:p>
          <a:endParaRPr lang="en-US"/>
        </a:p>
      </dgm:t>
    </dgm:pt>
    <dgm:pt modelId="{C57BEF74-6DF1-4AB9-BA4C-4E3C5F512868}">
      <dgm:prSet/>
      <dgm:spPr>
        <a:solidFill>
          <a:schemeClr val="tx2">
            <a:lumMod val="75000"/>
          </a:schemeClr>
        </a:solidFill>
      </dgm:spPr>
      <dgm:t>
        <a:bodyPr/>
        <a:lstStyle/>
        <a:p>
          <a:r>
            <a:rPr lang="en-US" b="0" u="sng" dirty="0"/>
            <a:t>Tactic</a:t>
          </a:r>
          <a:r>
            <a:rPr lang="en-US" b="0" dirty="0"/>
            <a:t> – Use monetary or non-monetary incentivizes to encourage testing and recruitment of network members</a:t>
          </a:r>
        </a:p>
      </dgm:t>
    </dgm:pt>
    <dgm:pt modelId="{69E08A95-F084-4C12-B7F1-765215826E5F}" type="parTrans" cxnId="{1C300248-A3A5-4A81-B7C6-28696B998504}">
      <dgm:prSet/>
      <dgm:spPr/>
      <dgm:t>
        <a:bodyPr/>
        <a:lstStyle/>
        <a:p>
          <a:endParaRPr lang="en-US"/>
        </a:p>
      </dgm:t>
    </dgm:pt>
    <dgm:pt modelId="{261D051A-D9DB-4BBD-A681-9C3EACD6C96B}" type="sibTrans" cxnId="{1C300248-A3A5-4A81-B7C6-28696B998504}">
      <dgm:prSet/>
      <dgm:spPr/>
      <dgm:t>
        <a:bodyPr/>
        <a:lstStyle/>
        <a:p>
          <a:endParaRPr lang="en-US"/>
        </a:p>
      </dgm:t>
    </dgm:pt>
    <dgm:pt modelId="{9003A40C-46BB-4DC5-96E4-BB83753FB478}" type="pres">
      <dgm:prSet presAssocID="{ADDBD053-BD55-444E-9EFC-7EE87097B50E}" presName="linear" presStyleCnt="0">
        <dgm:presLayoutVars>
          <dgm:animLvl val="lvl"/>
          <dgm:resizeHandles val="exact"/>
        </dgm:presLayoutVars>
      </dgm:prSet>
      <dgm:spPr/>
    </dgm:pt>
    <dgm:pt modelId="{BE735D2A-DFEF-496A-A73E-F26D662E3A5F}" type="pres">
      <dgm:prSet presAssocID="{414E309C-6E20-45DA-9BDF-087291A4C855}" presName="parentText" presStyleLbl="node1" presStyleIdx="0" presStyleCnt="3" custScaleY="157892" custLinFactNeighborX="22" custLinFactNeighborY="-32880">
        <dgm:presLayoutVars>
          <dgm:chMax val="0"/>
          <dgm:bulletEnabled val="1"/>
        </dgm:presLayoutVars>
      </dgm:prSet>
      <dgm:spPr/>
    </dgm:pt>
    <dgm:pt modelId="{049178E0-3826-4DE6-90D4-36B9FB75DC8E}" type="pres">
      <dgm:prSet presAssocID="{FF075B61-783F-4166-BF44-62FACB08EAF3}" presName="spacer" presStyleCnt="0"/>
      <dgm:spPr/>
    </dgm:pt>
    <dgm:pt modelId="{D5638102-14C0-4442-BFA5-72F9836E7D4E}" type="pres">
      <dgm:prSet presAssocID="{1F65D9E5-8DD9-4EB8-B766-F4E139E8124E}" presName="parentText" presStyleLbl="node1" presStyleIdx="1" presStyleCnt="3">
        <dgm:presLayoutVars>
          <dgm:chMax val="0"/>
          <dgm:bulletEnabled val="1"/>
        </dgm:presLayoutVars>
      </dgm:prSet>
      <dgm:spPr/>
    </dgm:pt>
    <dgm:pt modelId="{2163BFFA-A328-4E2C-B957-2C6BE6236F49}" type="pres">
      <dgm:prSet presAssocID="{9656232E-82BF-4782-8D5C-80BB1435E302}" presName="spacer" presStyleCnt="0"/>
      <dgm:spPr/>
    </dgm:pt>
    <dgm:pt modelId="{15402F5A-F1FB-4685-95B0-EDA1FAAA7B18}" type="pres">
      <dgm:prSet presAssocID="{C57BEF74-6DF1-4AB9-BA4C-4E3C5F512868}" presName="parentText" presStyleLbl="node1" presStyleIdx="2" presStyleCnt="3" custScaleY="77074">
        <dgm:presLayoutVars>
          <dgm:chMax val="0"/>
          <dgm:bulletEnabled val="1"/>
        </dgm:presLayoutVars>
      </dgm:prSet>
      <dgm:spPr/>
    </dgm:pt>
  </dgm:ptLst>
  <dgm:cxnLst>
    <dgm:cxn modelId="{FA6F9D34-71F9-450F-A6F7-B7185164F8BE}" srcId="{ADDBD053-BD55-444E-9EFC-7EE87097B50E}" destId="{1F65D9E5-8DD9-4EB8-B766-F4E139E8124E}" srcOrd="1" destOrd="0" parTransId="{F731A86D-398E-4B7A-A39F-0D27746B8D29}" sibTransId="{9656232E-82BF-4782-8D5C-80BB1435E302}"/>
    <dgm:cxn modelId="{31A6A537-6083-4F34-8D61-B3012DE104D7}" srcId="{ADDBD053-BD55-444E-9EFC-7EE87097B50E}" destId="{414E309C-6E20-45DA-9BDF-087291A4C855}" srcOrd="0" destOrd="0" parTransId="{3CCF561D-6CDC-46E5-AB3B-762A6168FE98}" sibTransId="{FF075B61-783F-4166-BF44-62FACB08EAF3}"/>
    <dgm:cxn modelId="{1C300248-A3A5-4A81-B7C6-28696B998504}" srcId="{ADDBD053-BD55-444E-9EFC-7EE87097B50E}" destId="{C57BEF74-6DF1-4AB9-BA4C-4E3C5F512868}" srcOrd="2" destOrd="0" parTransId="{69E08A95-F084-4C12-B7F1-765215826E5F}" sibTransId="{261D051A-D9DB-4BBD-A681-9C3EACD6C96B}"/>
    <dgm:cxn modelId="{4EFBEC54-B505-4C42-BEAD-0AFCDF002A18}" type="presOf" srcId="{1F65D9E5-8DD9-4EB8-B766-F4E139E8124E}" destId="{D5638102-14C0-4442-BFA5-72F9836E7D4E}" srcOrd="0" destOrd="0" presId="urn:microsoft.com/office/officeart/2005/8/layout/vList2"/>
    <dgm:cxn modelId="{AD41779F-5F36-4C92-9B51-9A9E08436AD2}" type="presOf" srcId="{ADDBD053-BD55-444E-9EFC-7EE87097B50E}" destId="{9003A40C-46BB-4DC5-96E4-BB83753FB478}" srcOrd="0" destOrd="0" presId="urn:microsoft.com/office/officeart/2005/8/layout/vList2"/>
    <dgm:cxn modelId="{2C57CAA6-5B08-4390-A118-566A4FC213E9}" type="presOf" srcId="{414E309C-6E20-45DA-9BDF-087291A4C855}" destId="{BE735D2A-DFEF-496A-A73E-F26D662E3A5F}" srcOrd="0" destOrd="0" presId="urn:microsoft.com/office/officeart/2005/8/layout/vList2"/>
    <dgm:cxn modelId="{1286EAC7-D99A-4BB7-BDDC-9D906ACF81BA}" type="presOf" srcId="{C57BEF74-6DF1-4AB9-BA4C-4E3C5F512868}" destId="{15402F5A-F1FB-4685-95B0-EDA1FAAA7B18}" srcOrd="0" destOrd="0" presId="urn:microsoft.com/office/officeart/2005/8/layout/vList2"/>
    <dgm:cxn modelId="{9C5BDC0C-98D3-4FEC-A3CA-A52CE0E4C6FC}" type="presParOf" srcId="{9003A40C-46BB-4DC5-96E4-BB83753FB478}" destId="{BE735D2A-DFEF-496A-A73E-F26D662E3A5F}" srcOrd="0" destOrd="0" presId="urn:microsoft.com/office/officeart/2005/8/layout/vList2"/>
    <dgm:cxn modelId="{9E913567-F0BC-48DD-9676-E3831BF615E9}" type="presParOf" srcId="{9003A40C-46BB-4DC5-96E4-BB83753FB478}" destId="{049178E0-3826-4DE6-90D4-36B9FB75DC8E}" srcOrd="1" destOrd="0" presId="urn:microsoft.com/office/officeart/2005/8/layout/vList2"/>
    <dgm:cxn modelId="{949F2F8C-B992-4933-8126-5F065348E6FA}" type="presParOf" srcId="{9003A40C-46BB-4DC5-96E4-BB83753FB478}" destId="{D5638102-14C0-4442-BFA5-72F9836E7D4E}" srcOrd="2" destOrd="0" presId="urn:microsoft.com/office/officeart/2005/8/layout/vList2"/>
    <dgm:cxn modelId="{84221069-B956-4CFB-93A5-538D16DFB699}" type="presParOf" srcId="{9003A40C-46BB-4DC5-96E4-BB83753FB478}" destId="{2163BFFA-A328-4E2C-B957-2C6BE6236F49}" srcOrd="3" destOrd="0" presId="urn:microsoft.com/office/officeart/2005/8/layout/vList2"/>
    <dgm:cxn modelId="{D0224BEB-7F86-43D4-9133-72D83EB016E3}" type="presParOf" srcId="{9003A40C-46BB-4DC5-96E4-BB83753FB478}" destId="{15402F5A-F1FB-4685-95B0-EDA1FAAA7B18}"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BFC3DD1-BA9E-40C4-98DF-2543291E61EA}"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A7EB6DBE-859D-4867-9F22-5F62DD22589A}">
      <dgm:prSet phldrT="[Text]" phldr="1"/>
      <dgm:spPr>
        <a:blipFill rotWithShape="0">
          <a:blip xmlns:r="http://schemas.openxmlformats.org/officeDocument/2006/relationships" r:embed="rId1"/>
          <a:stretch>
            <a:fillRect/>
          </a:stretch>
        </a:blipFill>
      </dgm:spPr>
      <dgm:t>
        <a:bodyPr/>
        <a:lstStyle/>
        <a:p>
          <a:endParaRPr lang="en-US" dirty="0"/>
        </a:p>
      </dgm:t>
    </dgm:pt>
    <dgm:pt modelId="{7C3218C8-1468-4E5A-B65B-B5A143E28C02}" type="parTrans" cxnId="{AE26C68F-03D5-478C-A5EE-304BB83228EF}">
      <dgm:prSet/>
      <dgm:spPr/>
      <dgm:t>
        <a:bodyPr/>
        <a:lstStyle/>
        <a:p>
          <a:endParaRPr lang="en-US"/>
        </a:p>
      </dgm:t>
    </dgm:pt>
    <dgm:pt modelId="{EB1FE3A1-FBE9-4512-8598-6BD1FC55565E}" type="sibTrans" cxnId="{AE26C68F-03D5-478C-A5EE-304BB83228EF}">
      <dgm:prSet/>
      <dgm:spPr/>
      <dgm:t>
        <a:bodyPr/>
        <a:lstStyle/>
        <a:p>
          <a:endParaRPr lang="en-US"/>
        </a:p>
      </dgm:t>
    </dgm:pt>
    <dgm:pt modelId="{E1DAE532-846B-4FFC-BE46-A43A2753BCB9}">
      <dgm:prSet phldrT="[Text]" phldr="1"/>
      <dgm:spPr>
        <a:blipFill rotWithShape="0">
          <a:blip xmlns:r="http://schemas.openxmlformats.org/officeDocument/2006/relationships" r:embed="rId1"/>
          <a:stretch>
            <a:fillRect/>
          </a:stretch>
        </a:blipFill>
      </dgm:spPr>
      <dgm:t>
        <a:bodyPr/>
        <a:lstStyle/>
        <a:p>
          <a:endParaRPr lang="en-US" dirty="0"/>
        </a:p>
      </dgm:t>
    </dgm:pt>
    <dgm:pt modelId="{688143DE-8DF2-414C-A47A-5DCAF0F2A413}" type="parTrans" cxnId="{BC94B144-F291-4252-8882-1F8CE05B2F54}">
      <dgm:prSet/>
      <dgm:spPr/>
      <dgm:t>
        <a:bodyPr/>
        <a:lstStyle/>
        <a:p>
          <a:endParaRPr lang="en-US"/>
        </a:p>
      </dgm:t>
    </dgm:pt>
    <dgm:pt modelId="{DE9E1861-BB29-4405-9FE7-8287500D09E7}" type="sibTrans" cxnId="{BC94B144-F291-4252-8882-1F8CE05B2F54}">
      <dgm:prSet/>
      <dgm:spPr/>
      <dgm:t>
        <a:bodyPr/>
        <a:lstStyle/>
        <a:p>
          <a:endParaRPr lang="en-US"/>
        </a:p>
      </dgm:t>
    </dgm:pt>
    <dgm:pt modelId="{BE208F5D-FC19-4F64-9EDF-FB7665C30765}">
      <dgm:prSet phldrT="[Text]" phldr="1"/>
      <dgm:spPr>
        <a:blipFill rotWithShape="0">
          <a:blip xmlns:r="http://schemas.openxmlformats.org/officeDocument/2006/relationships" r:embed="rId2"/>
          <a:stretch>
            <a:fillRect/>
          </a:stretch>
        </a:blipFill>
      </dgm:spPr>
      <dgm:t>
        <a:bodyPr/>
        <a:lstStyle/>
        <a:p>
          <a:endParaRPr lang="en-US" dirty="0"/>
        </a:p>
      </dgm:t>
    </dgm:pt>
    <dgm:pt modelId="{9FF26097-8061-4635-AE78-F4A094685BCF}" type="parTrans" cxnId="{77A296D0-8E20-4D5E-9E12-B6A1540E3522}">
      <dgm:prSet/>
      <dgm:spPr/>
      <dgm:t>
        <a:bodyPr/>
        <a:lstStyle/>
        <a:p>
          <a:endParaRPr lang="en-US"/>
        </a:p>
      </dgm:t>
    </dgm:pt>
    <dgm:pt modelId="{37D2BA21-A289-4F28-BC4F-C777AC36B1E2}" type="sibTrans" cxnId="{77A296D0-8E20-4D5E-9E12-B6A1540E3522}">
      <dgm:prSet/>
      <dgm:spPr/>
      <dgm:t>
        <a:bodyPr/>
        <a:lstStyle/>
        <a:p>
          <a:endParaRPr lang="en-US"/>
        </a:p>
      </dgm:t>
    </dgm:pt>
    <dgm:pt modelId="{32EE7F5F-54B5-4BE2-9116-64C057280C2F}">
      <dgm:prSet phldrT="[Text]" phldr="1"/>
      <dgm:spPr>
        <a:blipFill rotWithShape="0">
          <a:blip xmlns:r="http://schemas.openxmlformats.org/officeDocument/2006/relationships" r:embed="rId2"/>
          <a:stretch>
            <a:fillRect/>
          </a:stretch>
        </a:blipFill>
      </dgm:spPr>
      <dgm:t>
        <a:bodyPr/>
        <a:lstStyle/>
        <a:p>
          <a:endParaRPr lang="en-US" dirty="0"/>
        </a:p>
      </dgm:t>
    </dgm:pt>
    <dgm:pt modelId="{03BEC6EC-A0E2-4CFE-B4CA-1FCA309B5731}" type="parTrans" cxnId="{6C0CAF37-63E9-46BD-A2D6-948CC1C94E56}">
      <dgm:prSet/>
      <dgm:spPr/>
      <dgm:t>
        <a:bodyPr/>
        <a:lstStyle/>
        <a:p>
          <a:endParaRPr lang="en-US"/>
        </a:p>
      </dgm:t>
    </dgm:pt>
    <dgm:pt modelId="{354FCAB5-B550-4585-B3D9-3F9A6F2E8457}" type="sibTrans" cxnId="{6C0CAF37-63E9-46BD-A2D6-948CC1C94E56}">
      <dgm:prSet/>
      <dgm:spPr/>
      <dgm:t>
        <a:bodyPr/>
        <a:lstStyle/>
        <a:p>
          <a:endParaRPr lang="en-US"/>
        </a:p>
      </dgm:t>
    </dgm:pt>
    <dgm:pt modelId="{8AC0F60E-FE78-475D-992D-4F457090A518}">
      <dgm:prSet phldrT="[Text]" phldr="1"/>
      <dgm:spPr>
        <a:blipFill rotWithShape="0">
          <a:blip xmlns:r="http://schemas.openxmlformats.org/officeDocument/2006/relationships" r:embed="rId1"/>
          <a:stretch>
            <a:fillRect/>
          </a:stretch>
        </a:blipFill>
      </dgm:spPr>
      <dgm:t>
        <a:bodyPr/>
        <a:lstStyle/>
        <a:p>
          <a:endParaRPr lang="en-US" dirty="0"/>
        </a:p>
      </dgm:t>
    </dgm:pt>
    <dgm:pt modelId="{012D5B2C-ED5C-4501-8637-89C6C9C2D23C}" type="parTrans" cxnId="{94652E67-1398-480B-A757-9B2294299E1C}">
      <dgm:prSet/>
      <dgm:spPr/>
      <dgm:t>
        <a:bodyPr/>
        <a:lstStyle/>
        <a:p>
          <a:endParaRPr lang="en-US"/>
        </a:p>
      </dgm:t>
    </dgm:pt>
    <dgm:pt modelId="{51EC0ACB-0042-4D03-81B8-C19EFB63275F}" type="sibTrans" cxnId="{94652E67-1398-480B-A757-9B2294299E1C}">
      <dgm:prSet/>
      <dgm:spPr/>
      <dgm:t>
        <a:bodyPr/>
        <a:lstStyle/>
        <a:p>
          <a:endParaRPr lang="en-US"/>
        </a:p>
      </dgm:t>
    </dgm:pt>
    <dgm:pt modelId="{22641327-01F6-464B-BD5D-015D509EFDA0}">
      <dgm:prSet phldrT="[Text]" phldr="1"/>
      <dgm:spPr>
        <a:blipFill rotWithShape="0">
          <a:blip xmlns:r="http://schemas.openxmlformats.org/officeDocument/2006/relationships" r:embed="rId1"/>
          <a:stretch>
            <a:fillRect/>
          </a:stretch>
        </a:blipFill>
      </dgm:spPr>
      <dgm:t>
        <a:bodyPr/>
        <a:lstStyle/>
        <a:p>
          <a:endParaRPr lang="en-US" dirty="0"/>
        </a:p>
      </dgm:t>
    </dgm:pt>
    <dgm:pt modelId="{482AC3BE-FFBD-4F78-A76D-FAA93F2AAC35}" type="parTrans" cxnId="{AEF5841A-D136-44EF-A133-D51B9EF04C3E}">
      <dgm:prSet/>
      <dgm:spPr/>
      <dgm:t>
        <a:bodyPr/>
        <a:lstStyle/>
        <a:p>
          <a:endParaRPr lang="en-US"/>
        </a:p>
      </dgm:t>
    </dgm:pt>
    <dgm:pt modelId="{B0964352-F02F-45B1-B6C4-4ED2C96146DD}" type="sibTrans" cxnId="{AEF5841A-D136-44EF-A133-D51B9EF04C3E}">
      <dgm:prSet/>
      <dgm:spPr/>
      <dgm:t>
        <a:bodyPr/>
        <a:lstStyle/>
        <a:p>
          <a:endParaRPr lang="en-US"/>
        </a:p>
      </dgm:t>
    </dgm:pt>
    <dgm:pt modelId="{6199B0AA-CACB-4DC4-8C20-14DCCC9AA736}">
      <dgm:prSet phldrT="[Text]"/>
      <dgm:spPr>
        <a:blipFill rotWithShape="0">
          <a:blip xmlns:r="http://schemas.openxmlformats.org/officeDocument/2006/relationships" r:embed="rId1"/>
          <a:stretch>
            <a:fillRect/>
          </a:stretch>
        </a:blipFill>
      </dgm:spPr>
      <dgm:t>
        <a:bodyPr/>
        <a:lstStyle/>
        <a:p>
          <a:endParaRPr lang="en-US" dirty="0"/>
        </a:p>
      </dgm:t>
    </dgm:pt>
    <dgm:pt modelId="{040F35A1-774C-44B9-AFB3-3413B3BFC050}" type="parTrans" cxnId="{BC65E1A2-01E2-43AC-81FF-07F9220197D1}">
      <dgm:prSet/>
      <dgm:spPr/>
      <dgm:t>
        <a:bodyPr/>
        <a:lstStyle/>
        <a:p>
          <a:endParaRPr lang="en-US"/>
        </a:p>
      </dgm:t>
    </dgm:pt>
    <dgm:pt modelId="{DEBDF365-B8FD-452C-8C5A-80B2035D63A4}" type="sibTrans" cxnId="{BC65E1A2-01E2-43AC-81FF-07F9220197D1}">
      <dgm:prSet/>
      <dgm:spPr/>
      <dgm:t>
        <a:bodyPr/>
        <a:lstStyle/>
        <a:p>
          <a:endParaRPr lang="en-US"/>
        </a:p>
      </dgm:t>
    </dgm:pt>
    <dgm:pt modelId="{43ABBF80-7D9C-405D-9A49-DC7FE0D4AE41}">
      <dgm:prSet phldrT="[Text]"/>
      <dgm:spPr>
        <a:blipFill rotWithShape="0">
          <a:blip xmlns:r="http://schemas.openxmlformats.org/officeDocument/2006/relationships" r:embed="rId1"/>
          <a:stretch>
            <a:fillRect/>
          </a:stretch>
        </a:blipFill>
      </dgm:spPr>
      <dgm:t>
        <a:bodyPr/>
        <a:lstStyle/>
        <a:p>
          <a:endParaRPr lang="en-US" dirty="0"/>
        </a:p>
      </dgm:t>
    </dgm:pt>
    <dgm:pt modelId="{26A73120-4DE3-4B48-B64D-CE425DB12B64}" type="parTrans" cxnId="{28472AA6-BCFC-4895-9F8C-C3543999FB1C}">
      <dgm:prSet/>
      <dgm:spPr/>
      <dgm:t>
        <a:bodyPr/>
        <a:lstStyle/>
        <a:p>
          <a:endParaRPr lang="en-US"/>
        </a:p>
      </dgm:t>
    </dgm:pt>
    <dgm:pt modelId="{FA47E97D-CFA4-44DC-8D6A-76C1EAEE2B73}" type="sibTrans" cxnId="{28472AA6-BCFC-4895-9F8C-C3543999FB1C}">
      <dgm:prSet/>
      <dgm:spPr/>
      <dgm:t>
        <a:bodyPr/>
        <a:lstStyle/>
        <a:p>
          <a:endParaRPr lang="en-US"/>
        </a:p>
      </dgm:t>
    </dgm:pt>
    <dgm:pt modelId="{0F0DB4E2-4C36-4630-B156-F42F99B2CD90}">
      <dgm:prSet phldrT="[Text]"/>
      <dgm:spPr>
        <a:blipFill rotWithShape="0">
          <a:blip xmlns:r="http://schemas.openxmlformats.org/officeDocument/2006/relationships" r:embed="rId2"/>
          <a:stretch>
            <a:fillRect/>
          </a:stretch>
        </a:blipFill>
      </dgm:spPr>
      <dgm:t>
        <a:bodyPr/>
        <a:lstStyle/>
        <a:p>
          <a:endParaRPr lang="en-US" dirty="0"/>
        </a:p>
      </dgm:t>
    </dgm:pt>
    <dgm:pt modelId="{5D9215E5-27BA-4256-9079-AC565347BEF0}" type="parTrans" cxnId="{250EE241-20C8-4E3C-8874-BDD34E6CBF8B}">
      <dgm:prSet/>
      <dgm:spPr/>
      <dgm:t>
        <a:bodyPr/>
        <a:lstStyle/>
        <a:p>
          <a:endParaRPr lang="en-US"/>
        </a:p>
      </dgm:t>
    </dgm:pt>
    <dgm:pt modelId="{2AAE0CE6-1509-444F-ABAB-53E98A9CD8D2}" type="sibTrans" cxnId="{250EE241-20C8-4E3C-8874-BDD34E6CBF8B}">
      <dgm:prSet/>
      <dgm:spPr/>
      <dgm:t>
        <a:bodyPr/>
        <a:lstStyle/>
        <a:p>
          <a:endParaRPr lang="en-US"/>
        </a:p>
      </dgm:t>
    </dgm:pt>
    <dgm:pt modelId="{0F566059-818F-4658-99A1-C2262080E8EC}" type="pres">
      <dgm:prSet presAssocID="{FBFC3DD1-BA9E-40C4-98DF-2543291E61EA}" presName="diagram" presStyleCnt="0">
        <dgm:presLayoutVars>
          <dgm:chPref val="1"/>
          <dgm:dir/>
          <dgm:animOne val="branch"/>
          <dgm:animLvl val="lvl"/>
          <dgm:resizeHandles val="exact"/>
        </dgm:presLayoutVars>
      </dgm:prSet>
      <dgm:spPr/>
    </dgm:pt>
    <dgm:pt modelId="{6F63C5EA-CD94-4220-BE80-21A8C48007CF}" type="pres">
      <dgm:prSet presAssocID="{A7EB6DBE-859D-4867-9F22-5F62DD22589A}" presName="root1" presStyleCnt="0"/>
      <dgm:spPr/>
    </dgm:pt>
    <dgm:pt modelId="{8B9D146A-E5CA-4A1F-B388-5303F5B48C69}" type="pres">
      <dgm:prSet presAssocID="{A7EB6DBE-859D-4867-9F22-5F62DD22589A}" presName="LevelOneTextNode" presStyleLbl="node0" presStyleIdx="0" presStyleCnt="1" custScaleX="545586" custScaleY="2000000" custLinFactX="-1100000" custLinFactNeighborX="-1171654" custLinFactNeighborY="43486">
        <dgm:presLayoutVars>
          <dgm:chPref val="3"/>
        </dgm:presLayoutVars>
      </dgm:prSet>
      <dgm:spPr/>
    </dgm:pt>
    <dgm:pt modelId="{07AFC5D2-9D60-40D4-9658-0F6E58DBFF97}" type="pres">
      <dgm:prSet presAssocID="{A7EB6DBE-859D-4867-9F22-5F62DD22589A}" presName="level2hierChild" presStyleCnt="0"/>
      <dgm:spPr/>
    </dgm:pt>
    <dgm:pt modelId="{03F44E94-CD66-4027-96B7-892CCAC7A6AB}" type="pres">
      <dgm:prSet presAssocID="{688143DE-8DF2-414C-A47A-5DCAF0F2A413}" presName="conn2-1" presStyleLbl="parChTrans1D2" presStyleIdx="0" presStyleCnt="2"/>
      <dgm:spPr/>
    </dgm:pt>
    <dgm:pt modelId="{3951F39A-7520-457E-A3A3-D690188CBF6D}" type="pres">
      <dgm:prSet presAssocID="{688143DE-8DF2-414C-A47A-5DCAF0F2A413}" presName="connTx" presStyleLbl="parChTrans1D2" presStyleIdx="0" presStyleCnt="2"/>
      <dgm:spPr/>
    </dgm:pt>
    <dgm:pt modelId="{DCE73E66-C798-4548-B5B2-0A83E8581930}" type="pres">
      <dgm:prSet presAssocID="{E1DAE532-846B-4FFC-BE46-A43A2753BCB9}" presName="root2" presStyleCnt="0"/>
      <dgm:spPr/>
    </dgm:pt>
    <dgm:pt modelId="{AFDE7534-7E92-4C73-891A-0EE281E0259E}" type="pres">
      <dgm:prSet presAssocID="{E1DAE532-846B-4FFC-BE46-A43A2753BCB9}" presName="LevelTwoTextNode" presStyleLbl="node2" presStyleIdx="0" presStyleCnt="2" custScaleX="548794" custScaleY="2000000" custLinFactX="-500000" custLinFactY="77208" custLinFactNeighborX="-546936" custLinFactNeighborY="100000">
        <dgm:presLayoutVars>
          <dgm:chPref val="3"/>
        </dgm:presLayoutVars>
      </dgm:prSet>
      <dgm:spPr/>
    </dgm:pt>
    <dgm:pt modelId="{61C64FB9-6FDE-445C-BF0C-9F162CE5919C}" type="pres">
      <dgm:prSet presAssocID="{E1DAE532-846B-4FFC-BE46-A43A2753BCB9}" presName="level3hierChild" presStyleCnt="0"/>
      <dgm:spPr/>
    </dgm:pt>
    <dgm:pt modelId="{74E808E7-8C60-4684-9D3C-AE5D05A03FE7}" type="pres">
      <dgm:prSet presAssocID="{9FF26097-8061-4635-AE78-F4A094685BCF}" presName="conn2-1" presStyleLbl="parChTrans1D3" presStyleIdx="0" presStyleCnt="3"/>
      <dgm:spPr/>
    </dgm:pt>
    <dgm:pt modelId="{E216080B-91F3-4E7B-92CE-43946B0C3721}" type="pres">
      <dgm:prSet presAssocID="{9FF26097-8061-4635-AE78-F4A094685BCF}" presName="connTx" presStyleLbl="parChTrans1D3" presStyleIdx="0" presStyleCnt="3"/>
      <dgm:spPr/>
    </dgm:pt>
    <dgm:pt modelId="{B19A25E6-3C12-4732-AA3C-1022DD2B2F34}" type="pres">
      <dgm:prSet presAssocID="{BE208F5D-FC19-4F64-9EDF-FB7665C30765}" presName="root2" presStyleCnt="0"/>
      <dgm:spPr/>
    </dgm:pt>
    <dgm:pt modelId="{CCB608A3-DAC9-4C98-BBF7-A4A77ED2150F}" type="pres">
      <dgm:prSet presAssocID="{BE208F5D-FC19-4F64-9EDF-FB7665C30765}" presName="LevelTwoTextNode" presStyleLbl="node3" presStyleIdx="0" presStyleCnt="3" custScaleX="548794" custScaleY="2000000">
        <dgm:presLayoutVars>
          <dgm:chPref val="3"/>
        </dgm:presLayoutVars>
      </dgm:prSet>
      <dgm:spPr/>
    </dgm:pt>
    <dgm:pt modelId="{A0443D67-E296-4BC5-B3EF-E1B29D86D910}" type="pres">
      <dgm:prSet presAssocID="{BE208F5D-FC19-4F64-9EDF-FB7665C30765}" presName="level3hierChild" presStyleCnt="0"/>
      <dgm:spPr/>
    </dgm:pt>
    <dgm:pt modelId="{D2BF0C95-363F-4AAB-8FFA-7DCF2A3E1259}" type="pres">
      <dgm:prSet presAssocID="{03BEC6EC-A0E2-4CFE-B4CA-1FCA309B5731}" presName="conn2-1" presStyleLbl="parChTrans1D3" presStyleIdx="1" presStyleCnt="3"/>
      <dgm:spPr/>
    </dgm:pt>
    <dgm:pt modelId="{4E4994FA-6B02-490F-8BF5-B936EEF54AA8}" type="pres">
      <dgm:prSet presAssocID="{03BEC6EC-A0E2-4CFE-B4CA-1FCA309B5731}" presName="connTx" presStyleLbl="parChTrans1D3" presStyleIdx="1" presStyleCnt="3"/>
      <dgm:spPr/>
    </dgm:pt>
    <dgm:pt modelId="{918CFE6E-9324-451F-80AA-C2EA41C4739C}" type="pres">
      <dgm:prSet presAssocID="{32EE7F5F-54B5-4BE2-9116-64C057280C2F}" presName="root2" presStyleCnt="0"/>
      <dgm:spPr/>
    </dgm:pt>
    <dgm:pt modelId="{89D2BC84-860A-4814-A323-D1720F92DA45}" type="pres">
      <dgm:prSet presAssocID="{32EE7F5F-54B5-4BE2-9116-64C057280C2F}" presName="LevelTwoTextNode" presStyleLbl="node3" presStyleIdx="1" presStyleCnt="3" custScaleX="548788" custScaleY="2000000">
        <dgm:presLayoutVars>
          <dgm:chPref val="3"/>
        </dgm:presLayoutVars>
      </dgm:prSet>
      <dgm:spPr/>
    </dgm:pt>
    <dgm:pt modelId="{43165D3D-A773-48FB-8564-5912E8AFFC00}" type="pres">
      <dgm:prSet presAssocID="{32EE7F5F-54B5-4BE2-9116-64C057280C2F}" presName="level3hierChild" presStyleCnt="0"/>
      <dgm:spPr/>
    </dgm:pt>
    <dgm:pt modelId="{E2E2455F-D65D-4B91-A8BD-C3D7F546250F}" type="pres">
      <dgm:prSet presAssocID="{012D5B2C-ED5C-4501-8637-89C6C9C2D23C}" presName="conn2-1" presStyleLbl="parChTrans1D2" presStyleIdx="1" presStyleCnt="2"/>
      <dgm:spPr/>
    </dgm:pt>
    <dgm:pt modelId="{316D0884-0F64-41FC-93BC-3191B1985943}" type="pres">
      <dgm:prSet presAssocID="{012D5B2C-ED5C-4501-8637-89C6C9C2D23C}" presName="connTx" presStyleLbl="parChTrans1D2" presStyleIdx="1" presStyleCnt="2"/>
      <dgm:spPr/>
    </dgm:pt>
    <dgm:pt modelId="{61FC8502-AB85-48CF-8E7B-C5829AF1CF12}" type="pres">
      <dgm:prSet presAssocID="{8AC0F60E-FE78-475D-992D-4F457090A518}" presName="root2" presStyleCnt="0"/>
      <dgm:spPr/>
    </dgm:pt>
    <dgm:pt modelId="{5F997B4D-430E-47DE-940E-F32AB0DC5D7B}" type="pres">
      <dgm:prSet presAssocID="{8AC0F60E-FE78-475D-992D-4F457090A518}" presName="LevelTwoTextNode" presStyleLbl="node2" presStyleIdx="1" presStyleCnt="2" custScaleX="548794" custScaleY="2000000" custLinFactX="-500000" custLinFactY="200000" custLinFactNeighborX="-546937" custLinFactNeighborY="205300">
        <dgm:presLayoutVars>
          <dgm:chPref val="3"/>
        </dgm:presLayoutVars>
      </dgm:prSet>
      <dgm:spPr/>
    </dgm:pt>
    <dgm:pt modelId="{22035191-4934-4657-9191-0FB60F374A96}" type="pres">
      <dgm:prSet presAssocID="{8AC0F60E-FE78-475D-992D-4F457090A518}" presName="level3hierChild" presStyleCnt="0"/>
      <dgm:spPr/>
    </dgm:pt>
    <dgm:pt modelId="{9541354F-B891-495F-8439-7AFAABCA3DAE}" type="pres">
      <dgm:prSet presAssocID="{482AC3BE-FFBD-4F78-A76D-FAA93F2AAC35}" presName="conn2-1" presStyleLbl="parChTrans1D3" presStyleIdx="2" presStyleCnt="3"/>
      <dgm:spPr/>
    </dgm:pt>
    <dgm:pt modelId="{02CC5601-AB68-4245-96AF-19F49107BED8}" type="pres">
      <dgm:prSet presAssocID="{482AC3BE-FFBD-4F78-A76D-FAA93F2AAC35}" presName="connTx" presStyleLbl="parChTrans1D3" presStyleIdx="2" presStyleCnt="3"/>
      <dgm:spPr/>
    </dgm:pt>
    <dgm:pt modelId="{63302307-B366-4D05-BF8C-CDA254A2D941}" type="pres">
      <dgm:prSet presAssocID="{22641327-01F6-464B-BD5D-015D509EFDA0}" presName="root2" presStyleCnt="0"/>
      <dgm:spPr/>
    </dgm:pt>
    <dgm:pt modelId="{8FEE9AE3-6508-48DD-B3E8-7C0D0F7C798F}" type="pres">
      <dgm:prSet presAssocID="{22641327-01F6-464B-BD5D-015D509EFDA0}" presName="LevelTwoTextNode" presStyleLbl="node3" presStyleIdx="2" presStyleCnt="3" custScaleX="548800" custScaleY="2000000" custLinFactX="-18521" custLinFactY="200000" custLinFactNeighborX="-100000" custLinFactNeighborY="205300">
        <dgm:presLayoutVars>
          <dgm:chPref val="3"/>
        </dgm:presLayoutVars>
      </dgm:prSet>
      <dgm:spPr/>
    </dgm:pt>
    <dgm:pt modelId="{CF6444BA-7889-4B72-AF0B-14A1D8715DA5}" type="pres">
      <dgm:prSet presAssocID="{22641327-01F6-464B-BD5D-015D509EFDA0}" presName="level3hierChild" presStyleCnt="0"/>
      <dgm:spPr/>
    </dgm:pt>
    <dgm:pt modelId="{5BC613A7-068E-41D0-852A-99BD257E8141}" type="pres">
      <dgm:prSet presAssocID="{26A73120-4DE3-4B48-B64D-CE425DB12B64}" presName="conn2-1" presStyleLbl="parChTrans1D4" presStyleIdx="0" presStyleCnt="3"/>
      <dgm:spPr/>
    </dgm:pt>
    <dgm:pt modelId="{A5EDEAB3-A5C5-411D-9440-00E719BF0C59}" type="pres">
      <dgm:prSet presAssocID="{26A73120-4DE3-4B48-B64D-CE425DB12B64}" presName="connTx" presStyleLbl="parChTrans1D4" presStyleIdx="0" presStyleCnt="3"/>
      <dgm:spPr/>
    </dgm:pt>
    <dgm:pt modelId="{507C7BF3-553A-4F87-BCBA-F65CFCFB6E31}" type="pres">
      <dgm:prSet presAssocID="{43ABBF80-7D9C-405D-9A49-DC7FE0D4AE41}" presName="root2" presStyleCnt="0"/>
      <dgm:spPr/>
    </dgm:pt>
    <dgm:pt modelId="{7038035E-C49B-41A5-986A-71CB75D1E12D}" type="pres">
      <dgm:prSet presAssocID="{43ABBF80-7D9C-405D-9A49-DC7FE0D4AE41}" presName="LevelTwoTextNode" presStyleLbl="node4" presStyleIdx="0" presStyleCnt="3" custScaleX="548797" custScaleY="2000000" custLinFactX="916090" custLinFactY="125225" custLinFactNeighborX="1000000" custLinFactNeighborY="200000">
        <dgm:presLayoutVars>
          <dgm:chPref val="3"/>
        </dgm:presLayoutVars>
      </dgm:prSet>
      <dgm:spPr/>
    </dgm:pt>
    <dgm:pt modelId="{290B8711-2D66-4239-81FC-701EA3B4C6D4}" type="pres">
      <dgm:prSet presAssocID="{43ABBF80-7D9C-405D-9A49-DC7FE0D4AE41}" presName="level3hierChild" presStyleCnt="0"/>
      <dgm:spPr/>
    </dgm:pt>
    <dgm:pt modelId="{268CAD21-9112-4B1B-85AF-D0C62B95271E}" type="pres">
      <dgm:prSet presAssocID="{5D9215E5-27BA-4256-9079-AC565347BEF0}" presName="conn2-1" presStyleLbl="parChTrans1D4" presStyleIdx="1" presStyleCnt="3"/>
      <dgm:spPr/>
    </dgm:pt>
    <dgm:pt modelId="{D3A307C7-6CD8-4691-9965-83BBEF979D0C}" type="pres">
      <dgm:prSet presAssocID="{5D9215E5-27BA-4256-9079-AC565347BEF0}" presName="connTx" presStyleLbl="parChTrans1D4" presStyleIdx="1" presStyleCnt="3"/>
      <dgm:spPr/>
    </dgm:pt>
    <dgm:pt modelId="{9ADB6546-1D60-4411-921E-8DAC0830272A}" type="pres">
      <dgm:prSet presAssocID="{0F0DB4E2-4C36-4630-B156-F42F99B2CD90}" presName="root2" presStyleCnt="0"/>
      <dgm:spPr/>
    </dgm:pt>
    <dgm:pt modelId="{4849CA46-230B-4ECB-929E-C2F5C846F70A}" type="pres">
      <dgm:prSet presAssocID="{0F0DB4E2-4C36-4630-B156-F42F99B2CD90}" presName="LevelTwoTextNode" presStyleLbl="node4" presStyleIdx="1" presStyleCnt="3" custScaleX="548798" custScaleY="2000000" custLinFactX="935844" custLinFactY="200000" custLinFactNeighborX="1000000" custLinFactNeighborY="205300">
        <dgm:presLayoutVars>
          <dgm:chPref val="3"/>
        </dgm:presLayoutVars>
      </dgm:prSet>
      <dgm:spPr/>
    </dgm:pt>
    <dgm:pt modelId="{C1A25F2B-EC63-479E-84E2-9581A231ECFF}" type="pres">
      <dgm:prSet presAssocID="{0F0DB4E2-4C36-4630-B156-F42F99B2CD90}" presName="level3hierChild" presStyleCnt="0"/>
      <dgm:spPr/>
    </dgm:pt>
    <dgm:pt modelId="{F57A435E-A58C-4FE4-9090-C9E48B484FF5}" type="pres">
      <dgm:prSet presAssocID="{040F35A1-774C-44B9-AFB3-3413B3BFC050}" presName="conn2-1" presStyleLbl="parChTrans1D4" presStyleIdx="2" presStyleCnt="3"/>
      <dgm:spPr/>
    </dgm:pt>
    <dgm:pt modelId="{E8D258DB-9503-43CF-9141-447055E00B2D}" type="pres">
      <dgm:prSet presAssocID="{040F35A1-774C-44B9-AFB3-3413B3BFC050}" presName="connTx" presStyleLbl="parChTrans1D4" presStyleIdx="2" presStyleCnt="3"/>
      <dgm:spPr/>
    </dgm:pt>
    <dgm:pt modelId="{8029A037-0376-4F53-AC49-95941DFA08AD}" type="pres">
      <dgm:prSet presAssocID="{6199B0AA-CACB-4DC4-8C20-14DCCC9AA736}" presName="root2" presStyleCnt="0"/>
      <dgm:spPr/>
    </dgm:pt>
    <dgm:pt modelId="{F8D27F8B-77D2-4A4C-9845-183E196E2793}" type="pres">
      <dgm:prSet presAssocID="{6199B0AA-CACB-4DC4-8C20-14DCCC9AA736}" presName="LevelTwoTextNode" presStyleLbl="node4" presStyleIdx="2" presStyleCnt="3" custScaleX="548800" custScaleY="2000000" custLinFactX="916090" custLinFactY="284880" custLinFactNeighborX="1000000" custLinFactNeighborY="300000">
        <dgm:presLayoutVars>
          <dgm:chPref val="3"/>
        </dgm:presLayoutVars>
      </dgm:prSet>
      <dgm:spPr/>
    </dgm:pt>
    <dgm:pt modelId="{3DAEF72C-888C-4207-B905-E569AF50EAC7}" type="pres">
      <dgm:prSet presAssocID="{6199B0AA-CACB-4DC4-8C20-14DCCC9AA736}" presName="level3hierChild" presStyleCnt="0"/>
      <dgm:spPr/>
    </dgm:pt>
  </dgm:ptLst>
  <dgm:cxnLst>
    <dgm:cxn modelId="{32397506-9083-4EA7-AD64-774C8F1D5CAD}" type="presOf" srcId="{A7EB6DBE-859D-4867-9F22-5F62DD22589A}" destId="{8B9D146A-E5CA-4A1F-B388-5303F5B48C69}" srcOrd="0" destOrd="0" presId="urn:microsoft.com/office/officeart/2005/8/layout/hierarchy2"/>
    <dgm:cxn modelId="{1F635A14-854E-41A2-94C5-1FFF742A375B}" type="presOf" srcId="{6199B0AA-CACB-4DC4-8C20-14DCCC9AA736}" destId="{F8D27F8B-77D2-4A4C-9845-183E196E2793}" srcOrd="0" destOrd="0" presId="urn:microsoft.com/office/officeart/2005/8/layout/hierarchy2"/>
    <dgm:cxn modelId="{AEF5841A-D136-44EF-A133-D51B9EF04C3E}" srcId="{8AC0F60E-FE78-475D-992D-4F457090A518}" destId="{22641327-01F6-464B-BD5D-015D509EFDA0}" srcOrd="0" destOrd="0" parTransId="{482AC3BE-FFBD-4F78-A76D-FAA93F2AAC35}" sibTransId="{B0964352-F02F-45B1-B6C4-4ED2C96146DD}"/>
    <dgm:cxn modelId="{A40BB51F-92A7-47A3-9446-07C1F91DF844}" type="presOf" srcId="{0F0DB4E2-4C36-4630-B156-F42F99B2CD90}" destId="{4849CA46-230B-4ECB-929E-C2F5C846F70A}" srcOrd="0" destOrd="0" presId="urn:microsoft.com/office/officeart/2005/8/layout/hierarchy2"/>
    <dgm:cxn modelId="{ECA84420-E91C-458A-9D08-57039E661FDD}" type="presOf" srcId="{32EE7F5F-54B5-4BE2-9116-64C057280C2F}" destId="{89D2BC84-860A-4814-A323-D1720F92DA45}" srcOrd="0" destOrd="0" presId="urn:microsoft.com/office/officeart/2005/8/layout/hierarchy2"/>
    <dgm:cxn modelId="{98B56423-DE78-4E19-BDF9-656617119AC1}" type="presOf" srcId="{26A73120-4DE3-4B48-B64D-CE425DB12B64}" destId="{5BC613A7-068E-41D0-852A-99BD257E8141}" srcOrd="0" destOrd="0" presId="urn:microsoft.com/office/officeart/2005/8/layout/hierarchy2"/>
    <dgm:cxn modelId="{0C263C2F-CB32-4E76-9FE4-E56097891E74}" type="presOf" srcId="{03BEC6EC-A0E2-4CFE-B4CA-1FCA309B5731}" destId="{4E4994FA-6B02-490F-8BF5-B936EEF54AA8}" srcOrd="1" destOrd="0" presId="urn:microsoft.com/office/officeart/2005/8/layout/hierarchy2"/>
    <dgm:cxn modelId="{885E6C35-8FC5-475C-89F2-701869AC395A}" type="presOf" srcId="{688143DE-8DF2-414C-A47A-5DCAF0F2A413}" destId="{03F44E94-CD66-4027-96B7-892CCAC7A6AB}" srcOrd="0" destOrd="0" presId="urn:microsoft.com/office/officeart/2005/8/layout/hierarchy2"/>
    <dgm:cxn modelId="{6C0CAF37-63E9-46BD-A2D6-948CC1C94E56}" srcId="{E1DAE532-846B-4FFC-BE46-A43A2753BCB9}" destId="{32EE7F5F-54B5-4BE2-9116-64C057280C2F}" srcOrd="1" destOrd="0" parTransId="{03BEC6EC-A0E2-4CFE-B4CA-1FCA309B5731}" sibTransId="{354FCAB5-B550-4585-B3D9-3F9A6F2E8457}"/>
    <dgm:cxn modelId="{250EE241-20C8-4E3C-8874-BDD34E6CBF8B}" srcId="{22641327-01F6-464B-BD5D-015D509EFDA0}" destId="{0F0DB4E2-4C36-4630-B156-F42F99B2CD90}" srcOrd="1" destOrd="0" parTransId="{5D9215E5-27BA-4256-9079-AC565347BEF0}" sibTransId="{2AAE0CE6-1509-444F-ABAB-53E98A9CD8D2}"/>
    <dgm:cxn modelId="{BC94B144-F291-4252-8882-1F8CE05B2F54}" srcId="{A7EB6DBE-859D-4867-9F22-5F62DD22589A}" destId="{E1DAE532-846B-4FFC-BE46-A43A2753BCB9}" srcOrd="0" destOrd="0" parTransId="{688143DE-8DF2-414C-A47A-5DCAF0F2A413}" sibTransId="{DE9E1861-BB29-4405-9FE7-8287500D09E7}"/>
    <dgm:cxn modelId="{94652E67-1398-480B-A757-9B2294299E1C}" srcId="{A7EB6DBE-859D-4867-9F22-5F62DD22589A}" destId="{8AC0F60E-FE78-475D-992D-4F457090A518}" srcOrd="1" destOrd="0" parTransId="{012D5B2C-ED5C-4501-8637-89C6C9C2D23C}" sibTransId="{51EC0ACB-0042-4D03-81B8-C19EFB63275F}"/>
    <dgm:cxn modelId="{B5A10048-7A66-4AC0-ADC4-018F24672F0A}" type="presOf" srcId="{BE208F5D-FC19-4F64-9EDF-FB7665C30765}" destId="{CCB608A3-DAC9-4C98-BBF7-A4A77ED2150F}" srcOrd="0" destOrd="0" presId="urn:microsoft.com/office/officeart/2005/8/layout/hierarchy2"/>
    <dgm:cxn modelId="{DEB8D46F-ADC6-44F5-98F2-B8564B4F53DC}" type="presOf" srcId="{E1DAE532-846B-4FFC-BE46-A43A2753BCB9}" destId="{AFDE7534-7E92-4C73-891A-0EE281E0259E}" srcOrd="0" destOrd="0" presId="urn:microsoft.com/office/officeart/2005/8/layout/hierarchy2"/>
    <dgm:cxn modelId="{42AEB172-68E5-4A89-8898-414FC1E1E22E}" type="presOf" srcId="{22641327-01F6-464B-BD5D-015D509EFDA0}" destId="{8FEE9AE3-6508-48DD-B3E8-7C0D0F7C798F}" srcOrd="0" destOrd="0" presId="urn:microsoft.com/office/officeart/2005/8/layout/hierarchy2"/>
    <dgm:cxn modelId="{800C4575-DA5B-4100-96EE-5A784141C375}" type="presOf" srcId="{8AC0F60E-FE78-475D-992D-4F457090A518}" destId="{5F997B4D-430E-47DE-940E-F32AB0DC5D7B}" srcOrd="0" destOrd="0" presId="urn:microsoft.com/office/officeart/2005/8/layout/hierarchy2"/>
    <dgm:cxn modelId="{8F36D978-D67B-4299-B371-EBD2D837F2BE}" type="presOf" srcId="{9FF26097-8061-4635-AE78-F4A094685BCF}" destId="{E216080B-91F3-4E7B-92CE-43946B0C3721}" srcOrd="1" destOrd="0" presId="urn:microsoft.com/office/officeart/2005/8/layout/hierarchy2"/>
    <dgm:cxn modelId="{4618E37B-288B-4DEE-908F-54996D02BF5A}" type="presOf" srcId="{43ABBF80-7D9C-405D-9A49-DC7FE0D4AE41}" destId="{7038035E-C49B-41A5-986A-71CB75D1E12D}" srcOrd="0" destOrd="0" presId="urn:microsoft.com/office/officeart/2005/8/layout/hierarchy2"/>
    <dgm:cxn modelId="{60E0938C-E4C9-48BD-81B6-3D9E2656FE1E}" type="presOf" srcId="{FBFC3DD1-BA9E-40C4-98DF-2543291E61EA}" destId="{0F566059-818F-4658-99A1-C2262080E8EC}" srcOrd="0" destOrd="0" presId="urn:microsoft.com/office/officeart/2005/8/layout/hierarchy2"/>
    <dgm:cxn modelId="{AE26C68F-03D5-478C-A5EE-304BB83228EF}" srcId="{FBFC3DD1-BA9E-40C4-98DF-2543291E61EA}" destId="{A7EB6DBE-859D-4867-9F22-5F62DD22589A}" srcOrd="0" destOrd="0" parTransId="{7C3218C8-1468-4E5A-B65B-B5A143E28C02}" sibTransId="{EB1FE3A1-FBE9-4512-8598-6BD1FC55565E}"/>
    <dgm:cxn modelId="{967DE291-CD5A-4C83-A29D-CA922D532B68}" type="presOf" srcId="{040F35A1-774C-44B9-AFB3-3413B3BFC050}" destId="{F57A435E-A58C-4FE4-9090-C9E48B484FF5}" srcOrd="0" destOrd="0" presId="urn:microsoft.com/office/officeart/2005/8/layout/hierarchy2"/>
    <dgm:cxn modelId="{BC65E1A2-01E2-43AC-81FF-07F9220197D1}" srcId="{22641327-01F6-464B-BD5D-015D509EFDA0}" destId="{6199B0AA-CACB-4DC4-8C20-14DCCC9AA736}" srcOrd="2" destOrd="0" parTransId="{040F35A1-774C-44B9-AFB3-3413B3BFC050}" sibTransId="{DEBDF365-B8FD-452C-8C5A-80B2035D63A4}"/>
    <dgm:cxn modelId="{28472AA6-BCFC-4895-9F8C-C3543999FB1C}" srcId="{22641327-01F6-464B-BD5D-015D509EFDA0}" destId="{43ABBF80-7D9C-405D-9A49-DC7FE0D4AE41}" srcOrd="0" destOrd="0" parTransId="{26A73120-4DE3-4B48-B64D-CE425DB12B64}" sibTransId="{FA47E97D-CFA4-44DC-8D6A-76C1EAEE2B73}"/>
    <dgm:cxn modelId="{20BDE6AD-44B2-490E-96A4-31663E1726C5}" type="presOf" srcId="{03BEC6EC-A0E2-4CFE-B4CA-1FCA309B5731}" destId="{D2BF0C95-363F-4AAB-8FFA-7DCF2A3E1259}" srcOrd="0" destOrd="0" presId="urn:microsoft.com/office/officeart/2005/8/layout/hierarchy2"/>
    <dgm:cxn modelId="{9DF329C9-C4F5-4695-8565-8C555CB0DF84}" type="presOf" srcId="{040F35A1-774C-44B9-AFB3-3413B3BFC050}" destId="{E8D258DB-9503-43CF-9141-447055E00B2D}" srcOrd="1" destOrd="0" presId="urn:microsoft.com/office/officeart/2005/8/layout/hierarchy2"/>
    <dgm:cxn modelId="{77A296D0-8E20-4D5E-9E12-B6A1540E3522}" srcId="{E1DAE532-846B-4FFC-BE46-A43A2753BCB9}" destId="{BE208F5D-FC19-4F64-9EDF-FB7665C30765}" srcOrd="0" destOrd="0" parTransId="{9FF26097-8061-4635-AE78-F4A094685BCF}" sibTransId="{37D2BA21-A289-4F28-BC4F-C777AC36B1E2}"/>
    <dgm:cxn modelId="{F86B51D6-A649-4D9D-A50A-ED304DE8D612}" type="presOf" srcId="{482AC3BE-FFBD-4F78-A76D-FAA93F2AAC35}" destId="{9541354F-B891-495F-8439-7AFAABCA3DAE}" srcOrd="0" destOrd="0" presId="urn:microsoft.com/office/officeart/2005/8/layout/hierarchy2"/>
    <dgm:cxn modelId="{921BEDDA-4786-431D-9925-DDE1FD00A384}" type="presOf" srcId="{012D5B2C-ED5C-4501-8637-89C6C9C2D23C}" destId="{E2E2455F-D65D-4B91-A8BD-C3D7F546250F}" srcOrd="0" destOrd="0" presId="urn:microsoft.com/office/officeart/2005/8/layout/hierarchy2"/>
    <dgm:cxn modelId="{E499B3F0-CD33-4548-8E41-3E09C6997B17}" type="presOf" srcId="{482AC3BE-FFBD-4F78-A76D-FAA93F2AAC35}" destId="{02CC5601-AB68-4245-96AF-19F49107BED8}" srcOrd="1" destOrd="0" presId="urn:microsoft.com/office/officeart/2005/8/layout/hierarchy2"/>
    <dgm:cxn modelId="{7F6A08F2-C2F6-441B-BA00-3CF394C25374}" type="presOf" srcId="{5D9215E5-27BA-4256-9079-AC565347BEF0}" destId="{D3A307C7-6CD8-4691-9965-83BBEF979D0C}" srcOrd="1" destOrd="0" presId="urn:microsoft.com/office/officeart/2005/8/layout/hierarchy2"/>
    <dgm:cxn modelId="{D396FFF3-8A6D-4246-83C4-C53DE872F290}" type="presOf" srcId="{9FF26097-8061-4635-AE78-F4A094685BCF}" destId="{74E808E7-8C60-4684-9D3C-AE5D05A03FE7}" srcOrd="0" destOrd="0" presId="urn:microsoft.com/office/officeart/2005/8/layout/hierarchy2"/>
    <dgm:cxn modelId="{EF4A45F9-EFEE-443F-AC16-F3F50E45789D}" type="presOf" srcId="{688143DE-8DF2-414C-A47A-5DCAF0F2A413}" destId="{3951F39A-7520-457E-A3A3-D690188CBF6D}" srcOrd="1" destOrd="0" presId="urn:microsoft.com/office/officeart/2005/8/layout/hierarchy2"/>
    <dgm:cxn modelId="{D1EE2AFA-8351-4B68-809C-C406A66A4DEA}" type="presOf" srcId="{012D5B2C-ED5C-4501-8637-89C6C9C2D23C}" destId="{316D0884-0F64-41FC-93BC-3191B1985943}" srcOrd="1" destOrd="0" presId="urn:microsoft.com/office/officeart/2005/8/layout/hierarchy2"/>
    <dgm:cxn modelId="{58BA91FA-63E5-4AB4-B493-D62DCC3E17C5}" type="presOf" srcId="{5D9215E5-27BA-4256-9079-AC565347BEF0}" destId="{268CAD21-9112-4B1B-85AF-D0C62B95271E}" srcOrd="0" destOrd="0" presId="urn:microsoft.com/office/officeart/2005/8/layout/hierarchy2"/>
    <dgm:cxn modelId="{12D13FFF-A2D4-4BA2-81D5-C1AC2563A18D}" type="presOf" srcId="{26A73120-4DE3-4B48-B64D-CE425DB12B64}" destId="{A5EDEAB3-A5C5-411D-9440-00E719BF0C59}" srcOrd="1" destOrd="0" presId="urn:microsoft.com/office/officeart/2005/8/layout/hierarchy2"/>
    <dgm:cxn modelId="{25D4B83A-17AD-40A8-8192-0E29A2821D8D}" type="presParOf" srcId="{0F566059-818F-4658-99A1-C2262080E8EC}" destId="{6F63C5EA-CD94-4220-BE80-21A8C48007CF}" srcOrd="0" destOrd="0" presId="urn:microsoft.com/office/officeart/2005/8/layout/hierarchy2"/>
    <dgm:cxn modelId="{1EBABBC0-85B5-4296-814A-A1B6EDA1FCDD}" type="presParOf" srcId="{6F63C5EA-CD94-4220-BE80-21A8C48007CF}" destId="{8B9D146A-E5CA-4A1F-B388-5303F5B48C69}" srcOrd="0" destOrd="0" presId="urn:microsoft.com/office/officeart/2005/8/layout/hierarchy2"/>
    <dgm:cxn modelId="{D514F325-EA9C-4F8B-8FD0-82F1A21BB77D}" type="presParOf" srcId="{6F63C5EA-CD94-4220-BE80-21A8C48007CF}" destId="{07AFC5D2-9D60-40D4-9658-0F6E58DBFF97}" srcOrd="1" destOrd="0" presId="urn:microsoft.com/office/officeart/2005/8/layout/hierarchy2"/>
    <dgm:cxn modelId="{4E9368C5-EDE5-42BC-9B20-F8D7C3D17E08}" type="presParOf" srcId="{07AFC5D2-9D60-40D4-9658-0F6E58DBFF97}" destId="{03F44E94-CD66-4027-96B7-892CCAC7A6AB}" srcOrd="0" destOrd="0" presId="urn:microsoft.com/office/officeart/2005/8/layout/hierarchy2"/>
    <dgm:cxn modelId="{EC9396BF-8649-41BB-BE5F-98FAA857D8A7}" type="presParOf" srcId="{03F44E94-CD66-4027-96B7-892CCAC7A6AB}" destId="{3951F39A-7520-457E-A3A3-D690188CBF6D}" srcOrd="0" destOrd="0" presId="urn:microsoft.com/office/officeart/2005/8/layout/hierarchy2"/>
    <dgm:cxn modelId="{4FBF44C9-6983-4B8B-801C-69BCA1CC72B2}" type="presParOf" srcId="{07AFC5D2-9D60-40D4-9658-0F6E58DBFF97}" destId="{DCE73E66-C798-4548-B5B2-0A83E8581930}" srcOrd="1" destOrd="0" presId="urn:microsoft.com/office/officeart/2005/8/layout/hierarchy2"/>
    <dgm:cxn modelId="{41206A9B-165A-4343-98C8-DEFB0A375DCC}" type="presParOf" srcId="{DCE73E66-C798-4548-B5B2-0A83E8581930}" destId="{AFDE7534-7E92-4C73-891A-0EE281E0259E}" srcOrd="0" destOrd="0" presId="urn:microsoft.com/office/officeart/2005/8/layout/hierarchy2"/>
    <dgm:cxn modelId="{E5B03754-D141-4332-A9C2-28B4F97AE0F3}" type="presParOf" srcId="{DCE73E66-C798-4548-B5B2-0A83E8581930}" destId="{61C64FB9-6FDE-445C-BF0C-9F162CE5919C}" srcOrd="1" destOrd="0" presId="urn:microsoft.com/office/officeart/2005/8/layout/hierarchy2"/>
    <dgm:cxn modelId="{48C401EF-224B-4E9D-A0F8-D88B172AFCE6}" type="presParOf" srcId="{61C64FB9-6FDE-445C-BF0C-9F162CE5919C}" destId="{74E808E7-8C60-4684-9D3C-AE5D05A03FE7}" srcOrd="0" destOrd="0" presId="urn:microsoft.com/office/officeart/2005/8/layout/hierarchy2"/>
    <dgm:cxn modelId="{B82FF384-3554-4FBD-BD21-501B4CB4CCDD}" type="presParOf" srcId="{74E808E7-8C60-4684-9D3C-AE5D05A03FE7}" destId="{E216080B-91F3-4E7B-92CE-43946B0C3721}" srcOrd="0" destOrd="0" presId="urn:microsoft.com/office/officeart/2005/8/layout/hierarchy2"/>
    <dgm:cxn modelId="{D5EEB65C-0862-4661-B300-3EBC78689756}" type="presParOf" srcId="{61C64FB9-6FDE-445C-BF0C-9F162CE5919C}" destId="{B19A25E6-3C12-4732-AA3C-1022DD2B2F34}" srcOrd="1" destOrd="0" presId="urn:microsoft.com/office/officeart/2005/8/layout/hierarchy2"/>
    <dgm:cxn modelId="{468CC559-9F61-45FD-A287-27B0BB45D8C9}" type="presParOf" srcId="{B19A25E6-3C12-4732-AA3C-1022DD2B2F34}" destId="{CCB608A3-DAC9-4C98-BBF7-A4A77ED2150F}" srcOrd="0" destOrd="0" presId="urn:microsoft.com/office/officeart/2005/8/layout/hierarchy2"/>
    <dgm:cxn modelId="{10DE58B1-5492-4641-A561-E1EE8417F6DB}" type="presParOf" srcId="{B19A25E6-3C12-4732-AA3C-1022DD2B2F34}" destId="{A0443D67-E296-4BC5-B3EF-E1B29D86D910}" srcOrd="1" destOrd="0" presId="urn:microsoft.com/office/officeart/2005/8/layout/hierarchy2"/>
    <dgm:cxn modelId="{A68DDA8B-E905-44D1-BDBB-13E0704CE244}" type="presParOf" srcId="{61C64FB9-6FDE-445C-BF0C-9F162CE5919C}" destId="{D2BF0C95-363F-4AAB-8FFA-7DCF2A3E1259}" srcOrd="2" destOrd="0" presId="urn:microsoft.com/office/officeart/2005/8/layout/hierarchy2"/>
    <dgm:cxn modelId="{2DC8854D-FFCB-4228-960B-81360570BCAC}" type="presParOf" srcId="{D2BF0C95-363F-4AAB-8FFA-7DCF2A3E1259}" destId="{4E4994FA-6B02-490F-8BF5-B936EEF54AA8}" srcOrd="0" destOrd="0" presId="urn:microsoft.com/office/officeart/2005/8/layout/hierarchy2"/>
    <dgm:cxn modelId="{33E65EE1-2C9D-480B-85AF-BF37326C6131}" type="presParOf" srcId="{61C64FB9-6FDE-445C-BF0C-9F162CE5919C}" destId="{918CFE6E-9324-451F-80AA-C2EA41C4739C}" srcOrd="3" destOrd="0" presId="urn:microsoft.com/office/officeart/2005/8/layout/hierarchy2"/>
    <dgm:cxn modelId="{E8F4E078-EB6C-421D-93A0-FB08C0F4EF03}" type="presParOf" srcId="{918CFE6E-9324-451F-80AA-C2EA41C4739C}" destId="{89D2BC84-860A-4814-A323-D1720F92DA45}" srcOrd="0" destOrd="0" presId="urn:microsoft.com/office/officeart/2005/8/layout/hierarchy2"/>
    <dgm:cxn modelId="{0DB163E7-9E6C-45FA-AD2F-39934F231AB5}" type="presParOf" srcId="{918CFE6E-9324-451F-80AA-C2EA41C4739C}" destId="{43165D3D-A773-48FB-8564-5912E8AFFC00}" srcOrd="1" destOrd="0" presId="urn:microsoft.com/office/officeart/2005/8/layout/hierarchy2"/>
    <dgm:cxn modelId="{DE43CF66-1D6D-491F-999D-9DE3D64AA0DB}" type="presParOf" srcId="{07AFC5D2-9D60-40D4-9658-0F6E58DBFF97}" destId="{E2E2455F-D65D-4B91-A8BD-C3D7F546250F}" srcOrd="2" destOrd="0" presId="urn:microsoft.com/office/officeart/2005/8/layout/hierarchy2"/>
    <dgm:cxn modelId="{C1C488F5-207C-4E3C-89E8-F897DEC9E1A2}" type="presParOf" srcId="{E2E2455F-D65D-4B91-A8BD-C3D7F546250F}" destId="{316D0884-0F64-41FC-93BC-3191B1985943}" srcOrd="0" destOrd="0" presId="urn:microsoft.com/office/officeart/2005/8/layout/hierarchy2"/>
    <dgm:cxn modelId="{AC7901EC-0301-4A23-AFB7-BD2BBD07F18D}" type="presParOf" srcId="{07AFC5D2-9D60-40D4-9658-0F6E58DBFF97}" destId="{61FC8502-AB85-48CF-8E7B-C5829AF1CF12}" srcOrd="3" destOrd="0" presId="urn:microsoft.com/office/officeart/2005/8/layout/hierarchy2"/>
    <dgm:cxn modelId="{2D630469-A9B2-42DC-963F-456B1682B82D}" type="presParOf" srcId="{61FC8502-AB85-48CF-8E7B-C5829AF1CF12}" destId="{5F997B4D-430E-47DE-940E-F32AB0DC5D7B}" srcOrd="0" destOrd="0" presId="urn:microsoft.com/office/officeart/2005/8/layout/hierarchy2"/>
    <dgm:cxn modelId="{E9154D99-FA97-4B82-91F7-38CD43F89067}" type="presParOf" srcId="{61FC8502-AB85-48CF-8E7B-C5829AF1CF12}" destId="{22035191-4934-4657-9191-0FB60F374A96}" srcOrd="1" destOrd="0" presId="urn:microsoft.com/office/officeart/2005/8/layout/hierarchy2"/>
    <dgm:cxn modelId="{437F0939-5F66-4635-A1D3-D9E3F2857F06}" type="presParOf" srcId="{22035191-4934-4657-9191-0FB60F374A96}" destId="{9541354F-B891-495F-8439-7AFAABCA3DAE}" srcOrd="0" destOrd="0" presId="urn:microsoft.com/office/officeart/2005/8/layout/hierarchy2"/>
    <dgm:cxn modelId="{0E1FACE0-A7BB-40F0-AE7A-9CF914335D33}" type="presParOf" srcId="{9541354F-B891-495F-8439-7AFAABCA3DAE}" destId="{02CC5601-AB68-4245-96AF-19F49107BED8}" srcOrd="0" destOrd="0" presId="urn:microsoft.com/office/officeart/2005/8/layout/hierarchy2"/>
    <dgm:cxn modelId="{3DEB140E-F7DC-4D2D-9930-ACEB0668AA6E}" type="presParOf" srcId="{22035191-4934-4657-9191-0FB60F374A96}" destId="{63302307-B366-4D05-BF8C-CDA254A2D941}" srcOrd="1" destOrd="0" presId="urn:microsoft.com/office/officeart/2005/8/layout/hierarchy2"/>
    <dgm:cxn modelId="{02743A26-147C-4159-9307-0BF94DB5D399}" type="presParOf" srcId="{63302307-B366-4D05-BF8C-CDA254A2D941}" destId="{8FEE9AE3-6508-48DD-B3E8-7C0D0F7C798F}" srcOrd="0" destOrd="0" presId="urn:microsoft.com/office/officeart/2005/8/layout/hierarchy2"/>
    <dgm:cxn modelId="{2BB642AD-764D-4006-A646-3A62B0EE00F0}" type="presParOf" srcId="{63302307-B366-4D05-BF8C-CDA254A2D941}" destId="{CF6444BA-7889-4B72-AF0B-14A1D8715DA5}" srcOrd="1" destOrd="0" presId="urn:microsoft.com/office/officeart/2005/8/layout/hierarchy2"/>
    <dgm:cxn modelId="{9CA14055-2CFB-48BC-9BD3-1D394610357C}" type="presParOf" srcId="{CF6444BA-7889-4B72-AF0B-14A1D8715DA5}" destId="{5BC613A7-068E-41D0-852A-99BD257E8141}" srcOrd="0" destOrd="0" presId="urn:microsoft.com/office/officeart/2005/8/layout/hierarchy2"/>
    <dgm:cxn modelId="{A27AC036-C269-430A-B3EA-242D14AB19A1}" type="presParOf" srcId="{5BC613A7-068E-41D0-852A-99BD257E8141}" destId="{A5EDEAB3-A5C5-411D-9440-00E719BF0C59}" srcOrd="0" destOrd="0" presId="urn:microsoft.com/office/officeart/2005/8/layout/hierarchy2"/>
    <dgm:cxn modelId="{2630D0CC-6428-43CE-B0CE-A52B76DD0CA6}" type="presParOf" srcId="{CF6444BA-7889-4B72-AF0B-14A1D8715DA5}" destId="{507C7BF3-553A-4F87-BCBA-F65CFCFB6E31}" srcOrd="1" destOrd="0" presId="urn:microsoft.com/office/officeart/2005/8/layout/hierarchy2"/>
    <dgm:cxn modelId="{7AB1A940-7C16-455F-B308-83D08C53092D}" type="presParOf" srcId="{507C7BF3-553A-4F87-BCBA-F65CFCFB6E31}" destId="{7038035E-C49B-41A5-986A-71CB75D1E12D}" srcOrd="0" destOrd="0" presId="urn:microsoft.com/office/officeart/2005/8/layout/hierarchy2"/>
    <dgm:cxn modelId="{41F0F0D6-0595-4B7D-AA33-61416D932021}" type="presParOf" srcId="{507C7BF3-553A-4F87-BCBA-F65CFCFB6E31}" destId="{290B8711-2D66-4239-81FC-701EA3B4C6D4}" srcOrd="1" destOrd="0" presId="urn:microsoft.com/office/officeart/2005/8/layout/hierarchy2"/>
    <dgm:cxn modelId="{0DFEC837-665C-4C60-817A-2E503428990F}" type="presParOf" srcId="{CF6444BA-7889-4B72-AF0B-14A1D8715DA5}" destId="{268CAD21-9112-4B1B-85AF-D0C62B95271E}" srcOrd="2" destOrd="0" presId="urn:microsoft.com/office/officeart/2005/8/layout/hierarchy2"/>
    <dgm:cxn modelId="{B3BAAF50-5CEF-4C56-830E-E6B605E2D699}" type="presParOf" srcId="{268CAD21-9112-4B1B-85AF-D0C62B95271E}" destId="{D3A307C7-6CD8-4691-9965-83BBEF979D0C}" srcOrd="0" destOrd="0" presId="urn:microsoft.com/office/officeart/2005/8/layout/hierarchy2"/>
    <dgm:cxn modelId="{AB35D579-9A30-4B27-BBF2-D3C3F377AD93}" type="presParOf" srcId="{CF6444BA-7889-4B72-AF0B-14A1D8715DA5}" destId="{9ADB6546-1D60-4411-921E-8DAC0830272A}" srcOrd="3" destOrd="0" presId="urn:microsoft.com/office/officeart/2005/8/layout/hierarchy2"/>
    <dgm:cxn modelId="{0C7A4B38-3E20-48B3-996A-A2A8E828A324}" type="presParOf" srcId="{9ADB6546-1D60-4411-921E-8DAC0830272A}" destId="{4849CA46-230B-4ECB-929E-C2F5C846F70A}" srcOrd="0" destOrd="0" presId="urn:microsoft.com/office/officeart/2005/8/layout/hierarchy2"/>
    <dgm:cxn modelId="{7152162A-118E-4273-ABC8-B87F91CD8FFF}" type="presParOf" srcId="{9ADB6546-1D60-4411-921E-8DAC0830272A}" destId="{C1A25F2B-EC63-479E-84E2-9581A231ECFF}" srcOrd="1" destOrd="0" presId="urn:microsoft.com/office/officeart/2005/8/layout/hierarchy2"/>
    <dgm:cxn modelId="{B3FADA5E-F09A-41DB-AFC8-48A5EF7C9997}" type="presParOf" srcId="{CF6444BA-7889-4B72-AF0B-14A1D8715DA5}" destId="{F57A435E-A58C-4FE4-9090-C9E48B484FF5}" srcOrd="4" destOrd="0" presId="urn:microsoft.com/office/officeart/2005/8/layout/hierarchy2"/>
    <dgm:cxn modelId="{5CC15104-5590-4F40-A2AC-D2797F3758A5}" type="presParOf" srcId="{F57A435E-A58C-4FE4-9090-C9E48B484FF5}" destId="{E8D258DB-9503-43CF-9141-447055E00B2D}" srcOrd="0" destOrd="0" presId="urn:microsoft.com/office/officeart/2005/8/layout/hierarchy2"/>
    <dgm:cxn modelId="{D66C402A-0DE6-44F5-9557-D1F8D6130E64}" type="presParOf" srcId="{CF6444BA-7889-4B72-AF0B-14A1D8715DA5}" destId="{8029A037-0376-4F53-AC49-95941DFA08AD}" srcOrd="5" destOrd="0" presId="urn:microsoft.com/office/officeart/2005/8/layout/hierarchy2"/>
    <dgm:cxn modelId="{46C54E18-5B78-442F-A531-8C4618B5F1DA}" type="presParOf" srcId="{8029A037-0376-4F53-AC49-95941DFA08AD}" destId="{F8D27F8B-77D2-4A4C-9845-183E196E2793}" srcOrd="0" destOrd="0" presId="urn:microsoft.com/office/officeart/2005/8/layout/hierarchy2"/>
    <dgm:cxn modelId="{E6DA02AD-F9AC-4FCD-8E3F-68875462F22B}" type="presParOf" srcId="{8029A037-0376-4F53-AC49-95941DFA08AD}" destId="{3DAEF72C-888C-4207-B905-E569AF50EAC7}"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98409E4-62B1-4306-AE94-6E817D1CE274}" type="doc">
      <dgm:prSet loTypeId="urn:microsoft.com/office/officeart/2005/8/layout/hProcess7" loCatId="process" qsTypeId="urn:microsoft.com/office/officeart/2005/8/quickstyle/simple1" qsCatId="simple" csTypeId="urn:microsoft.com/office/officeart/2005/8/colors/accent1_2" csCatId="accent1" phldr="1"/>
      <dgm:spPr/>
      <dgm:t>
        <a:bodyPr/>
        <a:lstStyle/>
        <a:p>
          <a:endParaRPr lang="en-US"/>
        </a:p>
      </dgm:t>
    </dgm:pt>
    <dgm:pt modelId="{F9E18238-AF98-44F8-9AD9-4051BDBF434A}">
      <dgm:prSet phldrT="[Text]"/>
      <dgm:spPr>
        <a:solidFill>
          <a:schemeClr val="tx2">
            <a:lumMod val="75000"/>
          </a:schemeClr>
        </a:solidFill>
      </dgm:spPr>
      <dgm:t>
        <a:bodyPr vert="vert"/>
        <a:lstStyle/>
        <a:p>
          <a:r>
            <a:rPr lang="en-US" dirty="0">
              <a:solidFill>
                <a:srgbClr val="42B0D2"/>
              </a:solidFill>
            </a:rPr>
            <a:t>1</a:t>
          </a:r>
        </a:p>
      </dgm:t>
    </dgm:pt>
    <dgm:pt modelId="{F93FFA95-7F97-45FF-980C-8B85280B1054}" type="parTrans" cxnId="{287A7200-4A6F-4A76-A0A2-15BEB1563D4F}">
      <dgm:prSet/>
      <dgm:spPr/>
      <dgm:t>
        <a:bodyPr/>
        <a:lstStyle/>
        <a:p>
          <a:endParaRPr lang="en-US"/>
        </a:p>
      </dgm:t>
    </dgm:pt>
    <dgm:pt modelId="{AB775643-AF01-4A91-80AB-6796F5BB3437}" type="sibTrans" cxnId="{287A7200-4A6F-4A76-A0A2-15BEB1563D4F}">
      <dgm:prSet/>
      <dgm:spPr/>
      <dgm:t>
        <a:bodyPr/>
        <a:lstStyle/>
        <a:p>
          <a:endParaRPr lang="en-US"/>
        </a:p>
      </dgm:t>
    </dgm:pt>
    <dgm:pt modelId="{C7A6862E-652C-4D1D-928A-6888DDE3D930}">
      <dgm:prSet phldrT="[Text]" custT="1"/>
      <dgm:spPr/>
      <dgm:t>
        <a:bodyPr/>
        <a:lstStyle/>
        <a:p>
          <a:r>
            <a:rPr lang="en-US" sz="2400" dirty="0"/>
            <a:t>Initial Recruiter Identification</a:t>
          </a:r>
        </a:p>
      </dgm:t>
    </dgm:pt>
    <dgm:pt modelId="{72AC5EE5-7C0A-4D07-AB00-DD86891DBF4F}" type="parTrans" cxnId="{41834CAE-70F9-4A33-A91C-46BF013E41D4}">
      <dgm:prSet/>
      <dgm:spPr/>
      <dgm:t>
        <a:bodyPr/>
        <a:lstStyle/>
        <a:p>
          <a:endParaRPr lang="en-US"/>
        </a:p>
      </dgm:t>
    </dgm:pt>
    <dgm:pt modelId="{BF5AE4F4-121A-4E68-BB10-411745E259D7}" type="sibTrans" cxnId="{41834CAE-70F9-4A33-A91C-46BF013E41D4}">
      <dgm:prSet/>
      <dgm:spPr/>
      <dgm:t>
        <a:bodyPr/>
        <a:lstStyle/>
        <a:p>
          <a:endParaRPr lang="en-US"/>
        </a:p>
      </dgm:t>
    </dgm:pt>
    <dgm:pt modelId="{EE7090BF-719E-4BC0-9CAE-CB94730D7157}">
      <dgm:prSet phldrT="[Text]"/>
      <dgm:spPr>
        <a:solidFill>
          <a:schemeClr val="tx2">
            <a:lumMod val="75000"/>
          </a:schemeClr>
        </a:solidFill>
      </dgm:spPr>
      <dgm:t>
        <a:bodyPr vert="vert"/>
        <a:lstStyle/>
        <a:p>
          <a:r>
            <a:rPr lang="en-US" dirty="0">
              <a:solidFill>
                <a:srgbClr val="42B0D2"/>
              </a:solidFill>
            </a:rPr>
            <a:t>2</a:t>
          </a:r>
        </a:p>
      </dgm:t>
    </dgm:pt>
    <dgm:pt modelId="{CC8542AB-93A9-478E-B3FF-06438427AA2A}" type="parTrans" cxnId="{7C4BDE64-E9FF-4999-821F-C40F338711AC}">
      <dgm:prSet/>
      <dgm:spPr/>
      <dgm:t>
        <a:bodyPr/>
        <a:lstStyle/>
        <a:p>
          <a:endParaRPr lang="en-US"/>
        </a:p>
      </dgm:t>
    </dgm:pt>
    <dgm:pt modelId="{E058A9B2-97A3-40FA-8D47-3B113CAF387A}" type="sibTrans" cxnId="{7C4BDE64-E9FF-4999-821F-C40F338711AC}">
      <dgm:prSet/>
      <dgm:spPr/>
      <dgm:t>
        <a:bodyPr/>
        <a:lstStyle/>
        <a:p>
          <a:endParaRPr lang="en-US"/>
        </a:p>
      </dgm:t>
    </dgm:pt>
    <dgm:pt modelId="{3EE8EFAF-CCC4-4C37-9A0E-7C577E85CFBB}">
      <dgm:prSet phldrT="[Text]" custT="1"/>
      <dgm:spPr/>
      <dgm:t>
        <a:bodyPr/>
        <a:lstStyle/>
        <a:p>
          <a:r>
            <a:rPr lang="en-US" sz="2800" dirty="0"/>
            <a:t>Recruiter Instruction</a:t>
          </a:r>
        </a:p>
      </dgm:t>
    </dgm:pt>
    <dgm:pt modelId="{1AFEBFD6-A3EF-44C3-8C1C-CB3ADF51CCB2}" type="parTrans" cxnId="{1FCDE0AB-4076-43D1-946A-53F34B18D8F4}">
      <dgm:prSet/>
      <dgm:spPr/>
      <dgm:t>
        <a:bodyPr/>
        <a:lstStyle/>
        <a:p>
          <a:endParaRPr lang="en-US"/>
        </a:p>
      </dgm:t>
    </dgm:pt>
    <dgm:pt modelId="{BCD630BF-CAF0-4983-8F4F-A0CD74FA7800}" type="sibTrans" cxnId="{1FCDE0AB-4076-43D1-946A-53F34B18D8F4}">
      <dgm:prSet/>
      <dgm:spPr/>
      <dgm:t>
        <a:bodyPr/>
        <a:lstStyle/>
        <a:p>
          <a:endParaRPr lang="en-US"/>
        </a:p>
      </dgm:t>
    </dgm:pt>
    <dgm:pt modelId="{BDB82951-6D4B-4D15-9D57-B1E666407C84}">
      <dgm:prSet phldrT="[Text]"/>
      <dgm:spPr>
        <a:solidFill>
          <a:schemeClr val="tx2">
            <a:lumMod val="75000"/>
          </a:schemeClr>
        </a:solidFill>
      </dgm:spPr>
      <dgm:t>
        <a:bodyPr vert="vert"/>
        <a:lstStyle/>
        <a:p>
          <a:r>
            <a:rPr lang="en-US" dirty="0">
              <a:solidFill>
                <a:srgbClr val="42B0D2"/>
              </a:solidFill>
            </a:rPr>
            <a:t>3</a:t>
          </a:r>
        </a:p>
      </dgm:t>
    </dgm:pt>
    <dgm:pt modelId="{F726D50A-FCC7-4E97-903D-20B7311A410A}" type="parTrans" cxnId="{0D563260-5D03-4E9A-9807-0F8A1CAA7900}">
      <dgm:prSet/>
      <dgm:spPr/>
      <dgm:t>
        <a:bodyPr/>
        <a:lstStyle/>
        <a:p>
          <a:endParaRPr lang="en-US"/>
        </a:p>
      </dgm:t>
    </dgm:pt>
    <dgm:pt modelId="{08A1393B-F52A-4DC2-ACA8-8193DB8E42B3}" type="sibTrans" cxnId="{0D563260-5D03-4E9A-9807-0F8A1CAA7900}">
      <dgm:prSet/>
      <dgm:spPr/>
      <dgm:t>
        <a:bodyPr/>
        <a:lstStyle/>
        <a:p>
          <a:endParaRPr lang="en-US"/>
        </a:p>
      </dgm:t>
    </dgm:pt>
    <dgm:pt modelId="{B8EE68B9-2268-4428-B9E9-9B84D8685D34}">
      <dgm:prSet phldrT="[Text]" custT="1"/>
      <dgm:spPr/>
      <dgm:t>
        <a:bodyPr/>
        <a:lstStyle/>
        <a:p>
          <a:r>
            <a:rPr lang="en-US" sz="2400" dirty="0"/>
            <a:t>Recruitment of Network Members</a:t>
          </a:r>
        </a:p>
      </dgm:t>
    </dgm:pt>
    <dgm:pt modelId="{BDF8BC9A-325F-4001-A9A2-670464D81C8A}" type="parTrans" cxnId="{767E817B-9F62-4EB8-9575-8C7E1B85CDF9}">
      <dgm:prSet/>
      <dgm:spPr/>
      <dgm:t>
        <a:bodyPr/>
        <a:lstStyle/>
        <a:p>
          <a:endParaRPr lang="en-US"/>
        </a:p>
      </dgm:t>
    </dgm:pt>
    <dgm:pt modelId="{B9DDDF34-04DF-4AD7-8836-74C91B0C2E70}" type="sibTrans" cxnId="{767E817B-9F62-4EB8-9575-8C7E1B85CDF9}">
      <dgm:prSet/>
      <dgm:spPr/>
      <dgm:t>
        <a:bodyPr/>
        <a:lstStyle/>
        <a:p>
          <a:endParaRPr lang="en-US"/>
        </a:p>
      </dgm:t>
    </dgm:pt>
    <dgm:pt modelId="{1BC4914D-F000-478C-87E9-AD5AE488E07C}">
      <dgm:prSet/>
      <dgm:spPr>
        <a:solidFill>
          <a:schemeClr val="tx2">
            <a:lumMod val="75000"/>
          </a:schemeClr>
        </a:solidFill>
      </dgm:spPr>
      <dgm:t>
        <a:bodyPr vert="vert" anchor="t" anchorCtr="0"/>
        <a:lstStyle/>
        <a:p>
          <a:r>
            <a:rPr lang="en-US" dirty="0">
              <a:solidFill>
                <a:srgbClr val="42B0D2"/>
              </a:solidFill>
            </a:rPr>
            <a:t>4</a:t>
          </a:r>
        </a:p>
      </dgm:t>
    </dgm:pt>
    <dgm:pt modelId="{D6454D08-A43F-49A6-B1EE-AEB3F71EDF85}" type="sibTrans" cxnId="{3C678DFC-64B8-4B22-BC15-0A6FBBDBA053}">
      <dgm:prSet/>
      <dgm:spPr/>
      <dgm:t>
        <a:bodyPr/>
        <a:lstStyle/>
        <a:p>
          <a:endParaRPr lang="en-US"/>
        </a:p>
      </dgm:t>
    </dgm:pt>
    <dgm:pt modelId="{13C10A9F-5BF6-4D67-BC5F-5B9AD812B1FD}" type="parTrans" cxnId="{3C678DFC-64B8-4B22-BC15-0A6FBBDBA053}">
      <dgm:prSet/>
      <dgm:spPr/>
      <dgm:t>
        <a:bodyPr/>
        <a:lstStyle/>
        <a:p>
          <a:endParaRPr lang="en-US"/>
        </a:p>
      </dgm:t>
    </dgm:pt>
    <dgm:pt modelId="{88E926CF-F277-4EDF-9D09-89C9B8E4218D}">
      <dgm:prSet custT="1"/>
      <dgm:spPr/>
      <dgm:t>
        <a:bodyPr/>
        <a:lstStyle/>
        <a:p>
          <a:r>
            <a:rPr lang="en-US" sz="2400" dirty="0"/>
            <a:t>Testing of Network Members &amp; Invitation to Become a Recruiter</a:t>
          </a:r>
        </a:p>
      </dgm:t>
    </dgm:pt>
    <dgm:pt modelId="{C2C46FAD-851F-4E1B-BACD-8A748672D266}" type="parTrans" cxnId="{6A41BB2C-ED42-49C3-910E-1652AC5C147A}">
      <dgm:prSet/>
      <dgm:spPr/>
      <dgm:t>
        <a:bodyPr/>
        <a:lstStyle/>
        <a:p>
          <a:endParaRPr lang="en-US"/>
        </a:p>
      </dgm:t>
    </dgm:pt>
    <dgm:pt modelId="{880D3C40-23D5-45B7-94F4-6759D44BE9C8}" type="sibTrans" cxnId="{6A41BB2C-ED42-49C3-910E-1652AC5C147A}">
      <dgm:prSet/>
      <dgm:spPr/>
      <dgm:t>
        <a:bodyPr/>
        <a:lstStyle/>
        <a:p>
          <a:endParaRPr lang="en-US"/>
        </a:p>
      </dgm:t>
    </dgm:pt>
    <dgm:pt modelId="{1DF654B8-212E-4D1D-B930-3990F1BAEDB1}" type="pres">
      <dgm:prSet presAssocID="{F98409E4-62B1-4306-AE94-6E817D1CE274}" presName="Name0" presStyleCnt="0">
        <dgm:presLayoutVars>
          <dgm:dir/>
          <dgm:animLvl val="lvl"/>
          <dgm:resizeHandles val="exact"/>
        </dgm:presLayoutVars>
      </dgm:prSet>
      <dgm:spPr/>
    </dgm:pt>
    <dgm:pt modelId="{76CE1F66-A884-405C-AC37-CE226D14C45B}" type="pres">
      <dgm:prSet presAssocID="{F9E18238-AF98-44F8-9AD9-4051BDBF434A}" presName="compositeNode" presStyleCnt="0">
        <dgm:presLayoutVars>
          <dgm:bulletEnabled val="1"/>
        </dgm:presLayoutVars>
      </dgm:prSet>
      <dgm:spPr/>
    </dgm:pt>
    <dgm:pt modelId="{70BFCC08-FE44-447A-831C-FB943CA1398E}" type="pres">
      <dgm:prSet presAssocID="{F9E18238-AF98-44F8-9AD9-4051BDBF434A}" presName="bgRect" presStyleLbl="node1" presStyleIdx="0" presStyleCnt="4" custAng="0" custLinFactNeighborX="-81" custLinFactNeighborY="1372"/>
      <dgm:spPr/>
    </dgm:pt>
    <dgm:pt modelId="{A7FEDE1F-2933-48C3-938A-35C91B3D8234}" type="pres">
      <dgm:prSet presAssocID="{F9E18238-AF98-44F8-9AD9-4051BDBF434A}" presName="parentNode" presStyleLbl="node1" presStyleIdx="0" presStyleCnt="4">
        <dgm:presLayoutVars>
          <dgm:chMax val="0"/>
          <dgm:bulletEnabled val="1"/>
        </dgm:presLayoutVars>
      </dgm:prSet>
      <dgm:spPr/>
    </dgm:pt>
    <dgm:pt modelId="{F040267D-B6C8-4465-8BE1-A5463276B26C}" type="pres">
      <dgm:prSet presAssocID="{F9E18238-AF98-44F8-9AD9-4051BDBF434A}" presName="childNode" presStyleLbl="node1" presStyleIdx="0" presStyleCnt="4">
        <dgm:presLayoutVars>
          <dgm:bulletEnabled val="1"/>
        </dgm:presLayoutVars>
      </dgm:prSet>
      <dgm:spPr/>
    </dgm:pt>
    <dgm:pt modelId="{C5A4CE6F-1B6C-4849-A19B-7642E2F2E69B}" type="pres">
      <dgm:prSet presAssocID="{AB775643-AF01-4A91-80AB-6796F5BB3437}" presName="hSp" presStyleCnt="0"/>
      <dgm:spPr/>
    </dgm:pt>
    <dgm:pt modelId="{3780CA56-A121-4AFF-8553-1880EBB558D4}" type="pres">
      <dgm:prSet presAssocID="{AB775643-AF01-4A91-80AB-6796F5BB3437}" presName="vProcSp" presStyleCnt="0"/>
      <dgm:spPr/>
    </dgm:pt>
    <dgm:pt modelId="{B2D915AB-74E3-40BB-B6BF-8B17701DED1C}" type="pres">
      <dgm:prSet presAssocID="{AB775643-AF01-4A91-80AB-6796F5BB3437}" presName="vSp1" presStyleCnt="0"/>
      <dgm:spPr/>
    </dgm:pt>
    <dgm:pt modelId="{2C4CD3CD-0CB6-4849-B750-500EBD92A8FE}" type="pres">
      <dgm:prSet presAssocID="{AB775643-AF01-4A91-80AB-6796F5BB3437}" presName="simulatedConn" presStyleLbl="solidFgAcc1" presStyleIdx="0" presStyleCnt="3" custScaleX="158838" custScaleY="156818"/>
      <dgm:spPr/>
    </dgm:pt>
    <dgm:pt modelId="{11629132-2BF1-4D71-AABC-D2E489571AF4}" type="pres">
      <dgm:prSet presAssocID="{AB775643-AF01-4A91-80AB-6796F5BB3437}" presName="vSp2" presStyleCnt="0"/>
      <dgm:spPr/>
    </dgm:pt>
    <dgm:pt modelId="{FC8785AC-9FF7-4865-B61F-A210D82A6E02}" type="pres">
      <dgm:prSet presAssocID="{AB775643-AF01-4A91-80AB-6796F5BB3437}" presName="sibTrans" presStyleCnt="0"/>
      <dgm:spPr/>
    </dgm:pt>
    <dgm:pt modelId="{57F099B1-59E1-46EF-BF0F-901174862BB7}" type="pres">
      <dgm:prSet presAssocID="{EE7090BF-719E-4BC0-9CAE-CB94730D7157}" presName="compositeNode" presStyleCnt="0">
        <dgm:presLayoutVars>
          <dgm:bulletEnabled val="1"/>
        </dgm:presLayoutVars>
      </dgm:prSet>
      <dgm:spPr/>
    </dgm:pt>
    <dgm:pt modelId="{5290635A-F99B-444F-AE59-481BD137D15D}" type="pres">
      <dgm:prSet presAssocID="{EE7090BF-719E-4BC0-9CAE-CB94730D7157}" presName="bgRect" presStyleLbl="node1" presStyleIdx="1" presStyleCnt="4" custAng="0"/>
      <dgm:spPr/>
    </dgm:pt>
    <dgm:pt modelId="{261C27F1-49C0-4D4D-99B7-C90361DE2640}" type="pres">
      <dgm:prSet presAssocID="{EE7090BF-719E-4BC0-9CAE-CB94730D7157}" presName="parentNode" presStyleLbl="node1" presStyleIdx="1" presStyleCnt="4">
        <dgm:presLayoutVars>
          <dgm:chMax val="0"/>
          <dgm:bulletEnabled val="1"/>
        </dgm:presLayoutVars>
      </dgm:prSet>
      <dgm:spPr/>
    </dgm:pt>
    <dgm:pt modelId="{83113CD1-CEEF-476C-AD1D-DAF9D09F8AC5}" type="pres">
      <dgm:prSet presAssocID="{EE7090BF-719E-4BC0-9CAE-CB94730D7157}" presName="childNode" presStyleLbl="node1" presStyleIdx="1" presStyleCnt="4">
        <dgm:presLayoutVars>
          <dgm:bulletEnabled val="1"/>
        </dgm:presLayoutVars>
      </dgm:prSet>
      <dgm:spPr/>
    </dgm:pt>
    <dgm:pt modelId="{EA16F696-E33F-46E1-B6A9-37F9EDC7A34F}" type="pres">
      <dgm:prSet presAssocID="{E058A9B2-97A3-40FA-8D47-3B113CAF387A}" presName="hSp" presStyleCnt="0"/>
      <dgm:spPr/>
    </dgm:pt>
    <dgm:pt modelId="{7034C47E-F60B-46A1-99F8-5774C379D90F}" type="pres">
      <dgm:prSet presAssocID="{E058A9B2-97A3-40FA-8D47-3B113CAF387A}" presName="vProcSp" presStyleCnt="0"/>
      <dgm:spPr/>
    </dgm:pt>
    <dgm:pt modelId="{41C3E75F-7C77-4CC2-B7EF-E82287DE9DF9}" type="pres">
      <dgm:prSet presAssocID="{E058A9B2-97A3-40FA-8D47-3B113CAF387A}" presName="vSp1" presStyleCnt="0"/>
      <dgm:spPr/>
    </dgm:pt>
    <dgm:pt modelId="{1689B49C-7F11-4C57-9F30-2993B0FF6880}" type="pres">
      <dgm:prSet presAssocID="{E058A9B2-97A3-40FA-8D47-3B113CAF387A}" presName="simulatedConn" presStyleLbl="solidFgAcc1" presStyleIdx="1" presStyleCnt="3" custScaleX="158838" custScaleY="156818"/>
      <dgm:spPr/>
    </dgm:pt>
    <dgm:pt modelId="{6CC72B3B-5D54-47B9-984C-9287A3AF3AA5}" type="pres">
      <dgm:prSet presAssocID="{E058A9B2-97A3-40FA-8D47-3B113CAF387A}" presName="vSp2" presStyleCnt="0"/>
      <dgm:spPr/>
    </dgm:pt>
    <dgm:pt modelId="{44A53477-544A-4428-961E-80E75888235E}" type="pres">
      <dgm:prSet presAssocID="{E058A9B2-97A3-40FA-8D47-3B113CAF387A}" presName="sibTrans" presStyleCnt="0"/>
      <dgm:spPr/>
    </dgm:pt>
    <dgm:pt modelId="{FE46B107-C71B-4482-A838-57F0AE8E13E3}" type="pres">
      <dgm:prSet presAssocID="{BDB82951-6D4B-4D15-9D57-B1E666407C84}" presName="compositeNode" presStyleCnt="0">
        <dgm:presLayoutVars>
          <dgm:bulletEnabled val="1"/>
        </dgm:presLayoutVars>
      </dgm:prSet>
      <dgm:spPr/>
    </dgm:pt>
    <dgm:pt modelId="{446BB1F3-EBF5-47F5-9232-4C809E75DA5E}" type="pres">
      <dgm:prSet presAssocID="{BDB82951-6D4B-4D15-9D57-B1E666407C84}" presName="bgRect" presStyleLbl="node1" presStyleIdx="2" presStyleCnt="4" custAng="0"/>
      <dgm:spPr/>
    </dgm:pt>
    <dgm:pt modelId="{6076EDD1-B5D0-4399-ACE1-3FC877F3054E}" type="pres">
      <dgm:prSet presAssocID="{BDB82951-6D4B-4D15-9D57-B1E666407C84}" presName="parentNode" presStyleLbl="node1" presStyleIdx="2" presStyleCnt="4">
        <dgm:presLayoutVars>
          <dgm:chMax val="0"/>
          <dgm:bulletEnabled val="1"/>
        </dgm:presLayoutVars>
      </dgm:prSet>
      <dgm:spPr/>
    </dgm:pt>
    <dgm:pt modelId="{E2044BF8-11DC-47F8-AB06-D74F379F65A0}" type="pres">
      <dgm:prSet presAssocID="{BDB82951-6D4B-4D15-9D57-B1E666407C84}" presName="childNode" presStyleLbl="node1" presStyleIdx="2" presStyleCnt="4">
        <dgm:presLayoutVars>
          <dgm:bulletEnabled val="1"/>
        </dgm:presLayoutVars>
      </dgm:prSet>
      <dgm:spPr/>
    </dgm:pt>
    <dgm:pt modelId="{90FF3D0D-5276-4F2C-9AE0-57F3325A07B5}" type="pres">
      <dgm:prSet presAssocID="{08A1393B-F52A-4DC2-ACA8-8193DB8E42B3}" presName="hSp" presStyleCnt="0"/>
      <dgm:spPr/>
    </dgm:pt>
    <dgm:pt modelId="{C38AEC07-FDE1-4714-8673-213DE17E58C3}" type="pres">
      <dgm:prSet presAssocID="{08A1393B-F52A-4DC2-ACA8-8193DB8E42B3}" presName="vProcSp" presStyleCnt="0"/>
      <dgm:spPr/>
    </dgm:pt>
    <dgm:pt modelId="{017352A1-6C74-436D-A074-62FCCDE2F432}" type="pres">
      <dgm:prSet presAssocID="{08A1393B-F52A-4DC2-ACA8-8193DB8E42B3}" presName="vSp1" presStyleCnt="0"/>
      <dgm:spPr/>
    </dgm:pt>
    <dgm:pt modelId="{A8FAAC3C-22DA-402A-990F-B5F55E2F64B3}" type="pres">
      <dgm:prSet presAssocID="{08A1393B-F52A-4DC2-ACA8-8193DB8E42B3}" presName="simulatedConn" presStyleLbl="solidFgAcc1" presStyleIdx="2" presStyleCnt="3" custScaleX="158838" custScaleY="156818"/>
      <dgm:spPr/>
    </dgm:pt>
    <dgm:pt modelId="{0AD6097D-9CC4-4EC7-B52D-6BC2CB99401C}" type="pres">
      <dgm:prSet presAssocID="{08A1393B-F52A-4DC2-ACA8-8193DB8E42B3}" presName="vSp2" presStyleCnt="0"/>
      <dgm:spPr/>
    </dgm:pt>
    <dgm:pt modelId="{820DA66B-D49C-48FC-BD60-652CDDD2AF69}" type="pres">
      <dgm:prSet presAssocID="{08A1393B-F52A-4DC2-ACA8-8193DB8E42B3}" presName="sibTrans" presStyleCnt="0"/>
      <dgm:spPr/>
    </dgm:pt>
    <dgm:pt modelId="{AC3C3758-36E7-4C0D-B399-394E19461703}" type="pres">
      <dgm:prSet presAssocID="{1BC4914D-F000-478C-87E9-AD5AE488E07C}" presName="compositeNode" presStyleCnt="0">
        <dgm:presLayoutVars>
          <dgm:bulletEnabled val="1"/>
        </dgm:presLayoutVars>
      </dgm:prSet>
      <dgm:spPr/>
    </dgm:pt>
    <dgm:pt modelId="{37A50639-6A70-410E-BA27-8C9CF9512EA9}" type="pres">
      <dgm:prSet presAssocID="{1BC4914D-F000-478C-87E9-AD5AE488E07C}" presName="bgRect" presStyleLbl="node1" presStyleIdx="3" presStyleCnt="4" custAng="0"/>
      <dgm:spPr/>
    </dgm:pt>
    <dgm:pt modelId="{250155C9-EC84-4B96-9F8E-6134969A2EF8}" type="pres">
      <dgm:prSet presAssocID="{1BC4914D-F000-478C-87E9-AD5AE488E07C}" presName="parentNode" presStyleLbl="node1" presStyleIdx="3" presStyleCnt="4">
        <dgm:presLayoutVars>
          <dgm:chMax val="0"/>
          <dgm:bulletEnabled val="1"/>
        </dgm:presLayoutVars>
      </dgm:prSet>
      <dgm:spPr/>
    </dgm:pt>
    <dgm:pt modelId="{BA5CD816-1F98-4621-B823-D981AB2E0114}" type="pres">
      <dgm:prSet presAssocID="{1BC4914D-F000-478C-87E9-AD5AE488E07C}" presName="childNode" presStyleLbl="node1" presStyleIdx="3" presStyleCnt="4">
        <dgm:presLayoutVars>
          <dgm:bulletEnabled val="1"/>
        </dgm:presLayoutVars>
      </dgm:prSet>
      <dgm:spPr/>
    </dgm:pt>
  </dgm:ptLst>
  <dgm:cxnLst>
    <dgm:cxn modelId="{287A7200-4A6F-4A76-A0A2-15BEB1563D4F}" srcId="{F98409E4-62B1-4306-AE94-6E817D1CE274}" destId="{F9E18238-AF98-44F8-9AD9-4051BDBF434A}" srcOrd="0" destOrd="0" parTransId="{F93FFA95-7F97-45FF-980C-8B85280B1054}" sibTransId="{AB775643-AF01-4A91-80AB-6796F5BB3437}"/>
    <dgm:cxn modelId="{F915FF28-4869-4D32-90E5-505C08ADE7E1}" type="presOf" srcId="{C7A6862E-652C-4D1D-928A-6888DDE3D930}" destId="{F040267D-B6C8-4465-8BE1-A5463276B26C}" srcOrd="0" destOrd="0" presId="urn:microsoft.com/office/officeart/2005/8/layout/hProcess7"/>
    <dgm:cxn modelId="{0155AF2C-0C3B-471B-B5B4-ECED9B071ED3}" type="presOf" srcId="{F9E18238-AF98-44F8-9AD9-4051BDBF434A}" destId="{70BFCC08-FE44-447A-831C-FB943CA1398E}" srcOrd="0" destOrd="0" presId="urn:microsoft.com/office/officeart/2005/8/layout/hProcess7"/>
    <dgm:cxn modelId="{6A41BB2C-ED42-49C3-910E-1652AC5C147A}" srcId="{1BC4914D-F000-478C-87E9-AD5AE488E07C}" destId="{88E926CF-F277-4EDF-9D09-89C9B8E4218D}" srcOrd="0" destOrd="0" parTransId="{C2C46FAD-851F-4E1B-BACD-8A748672D266}" sibTransId="{880D3C40-23D5-45B7-94F4-6759D44BE9C8}"/>
    <dgm:cxn modelId="{3E46672D-3EEB-4BF9-89E4-CCF34F3E56DC}" type="presOf" srcId="{1BC4914D-F000-478C-87E9-AD5AE488E07C}" destId="{250155C9-EC84-4B96-9F8E-6134969A2EF8}" srcOrd="1" destOrd="0" presId="urn:microsoft.com/office/officeart/2005/8/layout/hProcess7"/>
    <dgm:cxn modelId="{36AD4D5C-C320-417D-8AF8-98BADA3E181B}" type="presOf" srcId="{3EE8EFAF-CCC4-4C37-9A0E-7C577E85CFBB}" destId="{83113CD1-CEEF-476C-AD1D-DAF9D09F8AC5}" srcOrd="0" destOrd="0" presId="urn:microsoft.com/office/officeart/2005/8/layout/hProcess7"/>
    <dgm:cxn modelId="{0D563260-5D03-4E9A-9807-0F8A1CAA7900}" srcId="{F98409E4-62B1-4306-AE94-6E817D1CE274}" destId="{BDB82951-6D4B-4D15-9D57-B1E666407C84}" srcOrd="2" destOrd="0" parTransId="{F726D50A-FCC7-4E97-903D-20B7311A410A}" sibTransId="{08A1393B-F52A-4DC2-ACA8-8193DB8E42B3}"/>
    <dgm:cxn modelId="{AE56E143-514E-4982-9EE0-B5C1121134DB}" type="presOf" srcId="{F98409E4-62B1-4306-AE94-6E817D1CE274}" destId="{1DF654B8-212E-4D1D-B930-3990F1BAEDB1}" srcOrd="0" destOrd="0" presId="urn:microsoft.com/office/officeart/2005/8/layout/hProcess7"/>
    <dgm:cxn modelId="{7C4BDE64-E9FF-4999-821F-C40F338711AC}" srcId="{F98409E4-62B1-4306-AE94-6E817D1CE274}" destId="{EE7090BF-719E-4BC0-9CAE-CB94730D7157}" srcOrd="1" destOrd="0" parTransId="{CC8542AB-93A9-478E-B3FF-06438427AA2A}" sibTransId="{E058A9B2-97A3-40FA-8D47-3B113CAF387A}"/>
    <dgm:cxn modelId="{9695206F-9C20-42BA-BB29-F38E97C8D707}" type="presOf" srcId="{BDB82951-6D4B-4D15-9D57-B1E666407C84}" destId="{6076EDD1-B5D0-4399-ACE1-3FC877F3054E}" srcOrd="1" destOrd="0" presId="urn:microsoft.com/office/officeart/2005/8/layout/hProcess7"/>
    <dgm:cxn modelId="{767E817B-9F62-4EB8-9575-8C7E1B85CDF9}" srcId="{BDB82951-6D4B-4D15-9D57-B1E666407C84}" destId="{B8EE68B9-2268-4428-B9E9-9B84D8685D34}" srcOrd="0" destOrd="0" parTransId="{BDF8BC9A-325F-4001-A9A2-670464D81C8A}" sibTransId="{B9DDDF34-04DF-4AD7-8836-74C91B0C2E70}"/>
    <dgm:cxn modelId="{26D224A8-097D-4F30-BFCF-93202618C6A3}" type="presOf" srcId="{F9E18238-AF98-44F8-9AD9-4051BDBF434A}" destId="{A7FEDE1F-2933-48C3-938A-35C91B3D8234}" srcOrd="1" destOrd="0" presId="urn:microsoft.com/office/officeart/2005/8/layout/hProcess7"/>
    <dgm:cxn modelId="{1FCDE0AB-4076-43D1-946A-53F34B18D8F4}" srcId="{EE7090BF-719E-4BC0-9CAE-CB94730D7157}" destId="{3EE8EFAF-CCC4-4C37-9A0E-7C577E85CFBB}" srcOrd="0" destOrd="0" parTransId="{1AFEBFD6-A3EF-44C3-8C1C-CB3ADF51CCB2}" sibTransId="{BCD630BF-CAF0-4983-8F4F-A0CD74FA7800}"/>
    <dgm:cxn modelId="{41834CAE-70F9-4A33-A91C-46BF013E41D4}" srcId="{F9E18238-AF98-44F8-9AD9-4051BDBF434A}" destId="{C7A6862E-652C-4D1D-928A-6888DDE3D930}" srcOrd="0" destOrd="0" parTransId="{72AC5EE5-7C0A-4D07-AB00-DD86891DBF4F}" sibTransId="{BF5AE4F4-121A-4E68-BB10-411745E259D7}"/>
    <dgm:cxn modelId="{F6AE49B9-B276-4064-86E9-C23A8879EFC3}" type="presOf" srcId="{EE7090BF-719E-4BC0-9CAE-CB94730D7157}" destId="{5290635A-F99B-444F-AE59-481BD137D15D}" srcOrd="0" destOrd="0" presId="urn:microsoft.com/office/officeart/2005/8/layout/hProcess7"/>
    <dgm:cxn modelId="{D61561C0-4695-43FE-ABBE-4DCC48F4B962}" type="presOf" srcId="{B8EE68B9-2268-4428-B9E9-9B84D8685D34}" destId="{E2044BF8-11DC-47F8-AB06-D74F379F65A0}" srcOrd="0" destOrd="0" presId="urn:microsoft.com/office/officeart/2005/8/layout/hProcess7"/>
    <dgm:cxn modelId="{9AFEB3C0-1CFA-43D9-B2ED-3DB259EC77DC}" type="presOf" srcId="{BDB82951-6D4B-4D15-9D57-B1E666407C84}" destId="{446BB1F3-EBF5-47F5-9232-4C809E75DA5E}" srcOrd="0" destOrd="0" presId="urn:microsoft.com/office/officeart/2005/8/layout/hProcess7"/>
    <dgm:cxn modelId="{3DB8D9C7-22E2-4167-B8B4-EA615FDF4512}" type="presOf" srcId="{EE7090BF-719E-4BC0-9CAE-CB94730D7157}" destId="{261C27F1-49C0-4D4D-99B7-C90361DE2640}" srcOrd="1" destOrd="0" presId="urn:microsoft.com/office/officeart/2005/8/layout/hProcess7"/>
    <dgm:cxn modelId="{E6B19BC8-FD4A-4DD2-BFA5-0895EE7293C5}" type="presOf" srcId="{88E926CF-F277-4EDF-9D09-89C9B8E4218D}" destId="{BA5CD816-1F98-4621-B823-D981AB2E0114}" srcOrd="0" destOrd="0" presId="urn:microsoft.com/office/officeart/2005/8/layout/hProcess7"/>
    <dgm:cxn modelId="{1F4BD4FB-AC42-4F9D-B840-AC8025C692E5}" type="presOf" srcId="{1BC4914D-F000-478C-87E9-AD5AE488E07C}" destId="{37A50639-6A70-410E-BA27-8C9CF9512EA9}" srcOrd="0" destOrd="0" presId="urn:microsoft.com/office/officeart/2005/8/layout/hProcess7"/>
    <dgm:cxn modelId="{3C678DFC-64B8-4B22-BC15-0A6FBBDBA053}" srcId="{F98409E4-62B1-4306-AE94-6E817D1CE274}" destId="{1BC4914D-F000-478C-87E9-AD5AE488E07C}" srcOrd="3" destOrd="0" parTransId="{13C10A9F-5BF6-4D67-BC5F-5B9AD812B1FD}" sibTransId="{D6454D08-A43F-49A6-B1EE-AEB3F71EDF85}"/>
    <dgm:cxn modelId="{D95454F4-7684-4501-A4C0-63782BFD02DD}" type="presParOf" srcId="{1DF654B8-212E-4D1D-B930-3990F1BAEDB1}" destId="{76CE1F66-A884-405C-AC37-CE226D14C45B}" srcOrd="0" destOrd="0" presId="urn:microsoft.com/office/officeart/2005/8/layout/hProcess7"/>
    <dgm:cxn modelId="{9A1FBE82-FF89-49AF-99B5-5985998038D8}" type="presParOf" srcId="{76CE1F66-A884-405C-AC37-CE226D14C45B}" destId="{70BFCC08-FE44-447A-831C-FB943CA1398E}" srcOrd="0" destOrd="0" presId="urn:microsoft.com/office/officeart/2005/8/layout/hProcess7"/>
    <dgm:cxn modelId="{2879BD60-F824-4CE0-9533-0467C239C1CC}" type="presParOf" srcId="{76CE1F66-A884-405C-AC37-CE226D14C45B}" destId="{A7FEDE1F-2933-48C3-938A-35C91B3D8234}" srcOrd="1" destOrd="0" presId="urn:microsoft.com/office/officeart/2005/8/layout/hProcess7"/>
    <dgm:cxn modelId="{9E991C63-9F89-4299-A3C3-BDA536F1303B}" type="presParOf" srcId="{76CE1F66-A884-405C-AC37-CE226D14C45B}" destId="{F040267D-B6C8-4465-8BE1-A5463276B26C}" srcOrd="2" destOrd="0" presId="urn:microsoft.com/office/officeart/2005/8/layout/hProcess7"/>
    <dgm:cxn modelId="{693FFA4C-F7BE-4372-B0E6-D8528F75D694}" type="presParOf" srcId="{1DF654B8-212E-4D1D-B930-3990F1BAEDB1}" destId="{C5A4CE6F-1B6C-4849-A19B-7642E2F2E69B}" srcOrd="1" destOrd="0" presId="urn:microsoft.com/office/officeart/2005/8/layout/hProcess7"/>
    <dgm:cxn modelId="{FEA31CA1-A2ED-47EC-89F4-481BAA821C01}" type="presParOf" srcId="{1DF654B8-212E-4D1D-B930-3990F1BAEDB1}" destId="{3780CA56-A121-4AFF-8553-1880EBB558D4}" srcOrd="2" destOrd="0" presId="urn:microsoft.com/office/officeart/2005/8/layout/hProcess7"/>
    <dgm:cxn modelId="{AF91D685-3128-4629-BA61-7A5547F972FA}" type="presParOf" srcId="{3780CA56-A121-4AFF-8553-1880EBB558D4}" destId="{B2D915AB-74E3-40BB-B6BF-8B17701DED1C}" srcOrd="0" destOrd="0" presId="urn:microsoft.com/office/officeart/2005/8/layout/hProcess7"/>
    <dgm:cxn modelId="{1352B2D0-11E5-4B5C-A288-450C5E388C34}" type="presParOf" srcId="{3780CA56-A121-4AFF-8553-1880EBB558D4}" destId="{2C4CD3CD-0CB6-4849-B750-500EBD92A8FE}" srcOrd="1" destOrd="0" presId="urn:microsoft.com/office/officeart/2005/8/layout/hProcess7"/>
    <dgm:cxn modelId="{261AAFD6-17BB-43EF-B39A-04A1BB5A0AAB}" type="presParOf" srcId="{3780CA56-A121-4AFF-8553-1880EBB558D4}" destId="{11629132-2BF1-4D71-AABC-D2E489571AF4}" srcOrd="2" destOrd="0" presId="urn:microsoft.com/office/officeart/2005/8/layout/hProcess7"/>
    <dgm:cxn modelId="{7C09F530-7B0F-4766-A416-B596DA998B22}" type="presParOf" srcId="{1DF654B8-212E-4D1D-B930-3990F1BAEDB1}" destId="{FC8785AC-9FF7-4865-B61F-A210D82A6E02}" srcOrd="3" destOrd="0" presId="urn:microsoft.com/office/officeart/2005/8/layout/hProcess7"/>
    <dgm:cxn modelId="{CAF03678-5A82-4C0B-ACBF-27C7110696B4}" type="presParOf" srcId="{1DF654B8-212E-4D1D-B930-3990F1BAEDB1}" destId="{57F099B1-59E1-46EF-BF0F-901174862BB7}" srcOrd="4" destOrd="0" presId="urn:microsoft.com/office/officeart/2005/8/layout/hProcess7"/>
    <dgm:cxn modelId="{346965FE-A135-470F-909E-DD30AB61CA13}" type="presParOf" srcId="{57F099B1-59E1-46EF-BF0F-901174862BB7}" destId="{5290635A-F99B-444F-AE59-481BD137D15D}" srcOrd="0" destOrd="0" presId="urn:microsoft.com/office/officeart/2005/8/layout/hProcess7"/>
    <dgm:cxn modelId="{519C6651-7C9E-405F-BE83-318482853232}" type="presParOf" srcId="{57F099B1-59E1-46EF-BF0F-901174862BB7}" destId="{261C27F1-49C0-4D4D-99B7-C90361DE2640}" srcOrd="1" destOrd="0" presId="urn:microsoft.com/office/officeart/2005/8/layout/hProcess7"/>
    <dgm:cxn modelId="{95257D6A-E38E-4695-B1B9-F9A5ABF83A84}" type="presParOf" srcId="{57F099B1-59E1-46EF-BF0F-901174862BB7}" destId="{83113CD1-CEEF-476C-AD1D-DAF9D09F8AC5}" srcOrd="2" destOrd="0" presId="urn:microsoft.com/office/officeart/2005/8/layout/hProcess7"/>
    <dgm:cxn modelId="{53B0A96C-EDD1-4CAC-AF2E-AEEE37BE8BD1}" type="presParOf" srcId="{1DF654B8-212E-4D1D-B930-3990F1BAEDB1}" destId="{EA16F696-E33F-46E1-B6A9-37F9EDC7A34F}" srcOrd="5" destOrd="0" presId="urn:microsoft.com/office/officeart/2005/8/layout/hProcess7"/>
    <dgm:cxn modelId="{9F652EA5-E20E-4B1A-AEB4-B599FBBE4548}" type="presParOf" srcId="{1DF654B8-212E-4D1D-B930-3990F1BAEDB1}" destId="{7034C47E-F60B-46A1-99F8-5774C379D90F}" srcOrd="6" destOrd="0" presId="urn:microsoft.com/office/officeart/2005/8/layout/hProcess7"/>
    <dgm:cxn modelId="{ACDEFBF1-B8B9-437D-8503-1DD41C232285}" type="presParOf" srcId="{7034C47E-F60B-46A1-99F8-5774C379D90F}" destId="{41C3E75F-7C77-4CC2-B7EF-E82287DE9DF9}" srcOrd="0" destOrd="0" presId="urn:microsoft.com/office/officeart/2005/8/layout/hProcess7"/>
    <dgm:cxn modelId="{A4438A49-5751-4E26-95DB-CDF17DE07053}" type="presParOf" srcId="{7034C47E-F60B-46A1-99F8-5774C379D90F}" destId="{1689B49C-7F11-4C57-9F30-2993B0FF6880}" srcOrd="1" destOrd="0" presId="urn:microsoft.com/office/officeart/2005/8/layout/hProcess7"/>
    <dgm:cxn modelId="{84A01CE5-C439-4279-B425-BAB1E7AF80F0}" type="presParOf" srcId="{7034C47E-F60B-46A1-99F8-5774C379D90F}" destId="{6CC72B3B-5D54-47B9-984C-9287A3AF3AA5}" srcOrd="2" destOrd="0" presId="urn:microsoft.com/office/officeart/2005/8/layout/hProcess7"/>
    <dgm:cxn modelId="{C8066A72-02BB-4C3F-AD88-41E0259136EA}" type="presParOf" srcId="{1DF654B8-212E-4D1D-B930-3990F1BAEDB1}" destId="{44A53477-544A-4428-961E-80E75888235E}" srcOrd="7" destOrd="0" presId="urn:microsoft.com/office/officeart/2005/8/layout/hProcess7"/>
    <dgm:cxn modelId="{40E1C079-6AB0-4E4B-8781-E092ED22A8DA}" type="presParOf" srcId="{1DF654B8-212E-4D1D-B930-3990F1BAEDB1}" destId="{FE46B107-C71B-4482-A838-57F0AE8E13E3}" srcOrd="8" destOrd="0" presId="urn:microsoft.com/office/officeart/2005/8/layout/hProcess7"/>
    <dgm:cxn modelId="{E4D47D41-AA53-4B20-97BA-FD2E75968159}" type="presParOf" srcId="{FE46B107-C71B-4482-A838-57F0AE8E13E3}" destId="{446BB1F3-EBF5-47F5-9232-4C809E75DA5E}" srcOrd="0" destOrd="0" presId="urn:microsoft.com/office/officeart/2005/8/layout/hProcess7"/>
    <dgm:cxn modelId="{9407E986-069E-4104-8BAA-3B225007AFB1}" type="presParOf" srcId="{FE46B107-C71B-4482-A838-57F0AE8E13E3}" destId="{6076EDD1-B5D0-4399-ACE1-3FC877F3054E}" srcOrd="1" destOrd="0" presId="urn:microsoft.com/office/officeart/2005/8/layout/hProcess7"/>
    <dgm:cxn modelId="{10068698-C3F8-4802-9DAF-2937DE475719}" type="presParOf" srcId="{FE46B107-C71B-4482-A838-57F0AE8E13E3}" destId="{E2044BF8-11DC-47F8-AB06-D74F379F65A0}" srcOrd="2" destOrd="0" presId="urn:microsoft.com/office/officeart/2005/8/layout/hProcess7"/>
    <dgm:cxn modelId="{70AF9537-A1B3-46CD-9A23-91C57AF815B9}" type="presParOf" srcId="{1DF654B8-212E-4D1D-B930-3990F1BAEDB1}" destId="{90FF3D0D-5276-4F2C-9AE0-57F3325A07B5}" srcOrd="9" destOrd="0" presId="urn:microsoft.com/office/officeart/2005/8/layout/hProcess7"/>
    <dgm:cxn modelId="{93B4C48D-B2B5-4E94-87A3-6654785FE40D}" type="presParOf" srcId="{1DF654B8-212E-4D1D-B930-3990F1BAEDB1}" destId="{C38AEC07-FDE1-4714-8673-213DE17E58C3}" srcOrd="10" destOrd="0" presId="urn:microsoft.com/office/officeart/2005/8/layout/hProcess7"/>
    <dgm:cxn modelId="{E789815C-5973-444A-8DF2-3A0944603F7D}" type="presParOf" srcId="{C38AEC07-FDE1-4714-8673-213DE17E58C3}" destId="{017352A1-6C74-436D-A074-62FCCDE2F432}" srcOrd="0" destOrd="0" presId="urn:microsoft.com/office/officeart/2005/8/layout/hProcess7"/>
    <dgm:cxn modelId="{142ED711-91DA-4E32-9246-BF2ADF5A5FC9}" type="presParOf" srcId="{C38AEC07-FDE1-4714-8673-213DE17E58C3}" destId="{A8FAAC3C-22DA-402A-990F-B5F55E2F64B3}" srcOrd="1" destOrd="0" presId="urn:microsoft.com/office/officeart/2005/8/layout/hProcess7"/>
    <dgm:cxn modelId="{6168B9A1-23FF-49DC-919E-E3EB2EB0D299}" type="presParOf" srcId="{C38AEC07-FDE1-4714-8673-213DE17E58C3}" destId="{0AD6097D-9CC4-4EC7-B52D-6BC2CB99401C}" srcOrd="2" destOrd="0" presId="urn:microsoft.com/office/officeart/2005/8/layout/hProcess7"/>
    <dgm:cxn modelId="{332AFC6F-4C84-4BDB-B185-27730A0B6479}" type="presParOf" srcId="{1DF654B8-212E-4D1D-B930-3990F1BAEDB1}" destId="{820DA66B-D49C-48FC-BD60-652CDDD2AF69}" srcOrd="11" destOrd="0" presId="urn:microsoft.com/office/officeart/2005/8/layout/hProcess7"/>
    <dgm:cxn modelId="{CBC79C78-8241-4A18-B0FF-A375DD77D64E}" type="presParOf" srcId="{1DF654B8-212E-4D1D-B930-3990F1BAEDB1}" destId="{AC3C3758-36E7-4C0D-B399-394E19461703}" srcOrd="12" destOrd="0" presId="urn:microsoft.com/office/officeart/2005/8/layout/hProcess7"/>
    <dgm:cxn modelId="{056D78AC-E2CD-45A1-9747-734095B36E34}" type="presParOf" srcId="{AC3C3758-36E7-4C0D-B399-394E19461703}" destId="{37A50639-6A70-410E-BA27-8C9CF9512EA9}" srcOrd="0" destOrd="0" presId="urn:microsoft.com/office/officeart/2005/8/layout/hProcess7"/>
    <dgm:cxn modelId="{58009865-5925-489F-8203-AA27DFEEB5D3}" type="presParOf" srcId="{AC3C3758-36E7-4C0D-B399-394E19461703}" destId="{250155C9-EC84-4B96-9F8E-6134969A2EF8}" srcOrd="1" destOrd="0" presId="urn:microsoft.com/office/officeart/2005/8/layout/hProcess7"/>
    <dgm:cxn modelId="{CB5E03BF-9274-4B4F-BCD5-4A7EC76ECF3A}" type="presParOf" srcId="{AC3C3758-36E7-4C0D-B399-394E19461703}" destId="{BA5CD816-1F98-4621-B823-D981AB2E0114}" srcOrd="2" destOrd="0" presId="urn:microsoft.com/office/officeart/2005/8/layout/hProcess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A7609BD-350E-4833-8A3E-A1BCF52999F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63DEEEC-0D0F-4DBD-A57C-7C3BE5791FC7}">
      <dgm:prSet phldrT="[Text]"/>
      <dgm:spPr>
        <a:solidFill>
          <a:srgbClr val="42B0D2"/>
        </a:solidFill>
      </dgm:spPr>
      <dgm:t>
        <a:bodyPr/>
        <a:lstStyle/>
        <a:p>
          <a:r>
            <a:rPr lang="en-US"/>
            <a:t>HIV positive and/or high-risk negative</a:t>
          </a:r>
        </a:p>
      </dgm:t>
    </dgm:pt>
    <dgm:pt modelId="{EB2B0CB4-B1BB-4213-9582-0D2604D68A3D}" type="parTrans" cxnId="{85D9B409-CC85-490A-BE06-4806172D6E52}">
      <dgm:prSet/>
      <dgm:spPr/>
      <dgm:t>
        <a:bodyPr/>
        <a:lstStyle/>
        <a:p>
          <a:endParaRPr lang="en-US"/>
        </a:p>
      </dgm:t>
    </dgm:pt>
    <dgm:pt modelId="{F4E14AC3-51B4-4A18-B93B-CE2B94E7E3C1}" type="sibTrans" cxnId="{85D9B409-CC85-490A-BE06-4806172D6E52}">
      <dgm:prSet/>
      <dgm:spPr/>
      <dgm:t>
        <a:bodyPr/>
        <a:lstStyle/>
        <a:p>
          <a:endParaRPr lang="en-US"/>
        </a:p>
      </dgm:t>
    </dgm:pt>
    <dgm:pt modelId="{6EF17605-0C59-4A2D-9AB3-685F00D47CED}">
      <dgm:prSet/>
      <dgm:spPr>
        <a:solidFill>
          <a:srgbClr val="42B0D2"/>
        </a:solidFill>
      </dgm:spPr>
      <dgm:t>
        <a:bodyPr/>
        <a:lstStyle/>
        <a:p>
          <a:r>
            <a:rPr lang="en-US" dirty="0"/>
            <a:t>Willing to refer network members to HTS</a:t>
          </a:r>
        </a:p>
      </dgm:t>
    </dgm:pt>
    <dgm:pt modelId="{405CDD79-7E67-43CE-A1D8-AB2D74D97C1F}" type="parTrans" cxnId="{11A9B949-609A-45A7-A0DC-A6008742A34B}">
      <dgm:prSet/>
      <dgm:spPr/>
      <dgm:t>
        <a:bodyPr/>
        <a:lstStyle/>
        <a:p>
          <a:endParaRPr lang="en-US"/>
        </a:p>
      </dgm:t>
    </dgm:pt>
    <dgm:pt modelId="{3A65D9C9-53F3-4105-B1C1-2715BCFE7FA7}" type="sibTrans" cxnId="{11A9B949-609A-45A7-A0DC-A6008742A34B}">
      <dgm:prSet/>
      <dgm:spPr/>
      <dgm:t>
        <a:bodyPr/>
        <a:lstStyle/>
        <a:p>
          <a:endParaRPr lang="en-US"/>
        </a:p>
      </dgm:t>
    </dgm:pt>
    <dgm:pt modelId="{BEB87259-2EA1-420A-8180-F33B7E6B3CD5}">
      <dgm:prSet/>
      <dgm:spPr>
        <a:solidFill>
          <a:srgbClr val="42B0D2"/>
        </a:solidFill>
      </dgm:spPr>
      <dgm:t>
        <a:bodyPr/>
        <a:lstStyle/>
        <a:p>
          <a:r>
            <a:rPr lang="en-US"/>
            <a:t>Comfortable talking about HIV</a:t>
          </a:r>
          <a:endParaRPr lang="en-US" dirty="0"/>
        </a:p>
      </dgm:t>
    </dgm:pt>
    <dgm:pt modelId="{FF3D0062-42E7-4F1B-8F5A-C1E842AD4F10}" type="parTrans" cxnId="{3C52AF26-7600-4A22-8968-990E56DD4413}">
      <dgm:prSet/>
      <dgm:spPr/>
      <dgm:t>
        <a:bodyPr/>
        <a:lstStyle/>
        <a:p>
          <a:endParaRPr lang="en-US"/>
        </a:p>
      </dgm:t>
    </dgm:pt>
    <dgm:pt modelId="{E61C9007-389F-4F55-9293-6058E7A0D486}" type="sibTrans" cxnId="{3C52AF26-7600-4A22-8968-990E56DD4413}">
      <dgm:prSet/>
      <dgm:spPr/>
      <dgm:t>
        <a:bodyPr/>
        <a:lstStyle/>
        <a:p>
          <a:endParaRPr lang="en-US"/>
        </a:p>
      </dgm:t>
    </dgm:pt>
    <dgm:pt modelId="{52AB6C96-1B52-4392-B6E5-0FF32E2511A0}">
      <dgm:prSet/>
      <dgm:spPr>
        <a:solidFill>
          <a:srgbClr val="42B0D2"/>
        </a:solidFill>
      </dgm:spPr>
      <dgm:t>
        <a:bodyPr/>
        <a:lstStyle/>
        <a:p>
          <a:r>
            <a:rPr lang="en-US" dirty="0"/>
            <a:t>Knowledgeable about HTS and testing locations</a:t>
          </a:r>
        </a:p>
      </dgm:t>
    </dgm:pt>
    <dgm:pt modelId="{82066A56-73F2-4EF7-8D5B-C2716A65B188}" type="parTrans" cxnId="{2CB05E51-B6CA-42B7-9D28-00C36D0A4D1D}">
      <dgm:prSet/>
      <dgm:spPr/>
      <dgm:t>
        <a:bodyPr/>
        <a:lstStyle/>
        <a:p>
          <a:endParaRPr lang="en-US"/>
        </a:p>
      </dgm:t>
    </dgm:pt>
    <dgm:pt modelId="{0B67F1C8-BBFA-4308-80C5-0D40A235E08D}" type="sibTrans" cxnId="{2CB05E51-B6CA-42B7-9D28-00C36D0A4D1D}">
      <dgm:prSet/>
      <dgm:spPr/>
      <dgm:t>
        <a:bodyPr/>
        <a:lstStyle/>
        <a:p>
          <a:endParaRPr lang="en-US"/>
        </a:p>
      </dgm:t>
    </dgm:pt>
    <dgm:pt modelId="{58BB8B7C-939B-4021-8EF2-02CBD58651CE}" type="pres">
      <dgm:prSet presAssocID="{8A7609BD-350E-4833-8A3E-A1BCF52999FD}" presName="linear" presStyleCnt="0">
        <dgm:presLayoutVars>
          <dgm:animLvl val="lvl"/>
          <dgm:resizeHandles val="exact"/>
        </dgm:presLayoutVars>
      </dgm:prSet>
      <dgm:spPr/>
    </dgm:pt>
    <dgm:pt modelId="{9210F313-8F70-4924-8637-E71EDCF4490B}" type="pres">
      <dgm:prSet presAssocID="{163DEEEC-0D0F-4DBD-A57C-7C3BE5791FC7}" presName="parentText" presStyleLbl="node1" presStyleIdx="0" presStyleCnt="4">
        <dgm:presLayoutVars>
          <dgm:chMax val="0"/>
          <dgm:bulletEnabled val="1"/>
        </dgm:presLayoutVars>
      </dgm:prSet>
      <dgm:spPr/>
    </dgm:pt>
    <dgm:pt modelId="{BA32B1D1-A124-4341-A824-98A0FA84027D}" type="pres">
      <dgm:prSet presAssocID="{F4E14AC3-51B4-4A18-B93B-CE2B94E7E3C1}" presName="spacer" presStyleCnt="0"/>
      <dgm:spPr/>
    </dgm:pt>
    <dgm:pt modelId="{585292C2-56C7-48A2-A82E-A365E9B26771}" type="pres">
      <dgm:prSet presAssocID="{6EF17605-0C59-4A2D-9AB3-685F00D47CED}" presName="parentText" presStyleLbl="node1" presStyleIdx="1" presStyleCnt="4">
        <dgm:presLayoutVars>
          <dgm:chMax val="0"/>
          <dgm:bulletEnabled val="1"/>
        </dgm:presLayoutVars>
      </dgm:prSet>
      <dgm:spPr/>
    </dgm:pt>
    <dgm:pt modelId="{DAB6F00F-602E-4240-8B13-B288A9F9AA09}" type="pres">
      <dgm:prSet presAssocID="{3A65D9C9-53F3-4105-B1C1-2715BCFE7FA7}" presName="spacer" presStyleCnt="0"/>
      <dgm:spPr/>
    </dgm:pt>
    <dgm:pt modelId="{B4BF93F0-CB8A-4F2B-AF66-F0A2793AAE0F}" type="pres">
      <dgm:prSet presAssocID="{BEB87259-2EA1-420A-8180-F33B7E6B3CD5}" presName="parentText" presStyleLbl="node1" presStyleIdx="2" presStyleCnt="4">
        <dgm:presLayoutVars>
          <dgm:chMax val="0"/>
          <dgm:bulletEnabled val="1"/>
        </dgm:presLayoutVars>
      </dgm:prSet>
      <dgm:spPr/>
    </dgm:pt>
    <dgm:pt modelId="{9C374A1F-C2BC-4E02-BFBC-41BA39A2B9E5}" type="pres">
      <dgm:prSet presAssocID="{E61C9007-389F-4F55-9293-6058E7A0D486}" presName="spacer" presStyleCnt="0"/>
      <dgm:spPr/>
    </dgm:pt>
    <dgm:pt modelId="{9B117828-01CB-4F20-9616-01B6546E6B18}" type="pres">
      <dgm:prSet presAssocID="{52AB6C96-1B52-4392-B6E5-0FF32E2511A0}" presName="parentText" presStyleLbl="node1" presStyleIdx="3" presStyleCnt="4">
        <dgm:presLayoutVars>
          <dgm:chMax val="0"/>
          <dgm:bulletEnabled val="1"/>
        </dgm:presLayoutVars>
      </dgm:prSet>
      <dgm:spPr/>
    </dgm:pt>
  </dgm:ptLst>
  <dgm:cxnLst>
    <dgm:cxn modelId="{85D9B409-CC85-490A-BE06-4806172D6E52}" srcId="{8A7609BD-350E-4833-8A3E-A1BCF52999FD}" destId="{163DEEEC-0D0F-4DBD-A57C-7C3BE5791FC7}" srcOrd="0" destOrd="0" parTransId="{EB2B0CB4-B1BB-4213-9582-0D2604D68A3D}" sibTransId="{F4E14AC3-51B4-4A18-B93B-CE2B94E7E3C1}"/>
    <dgm:cxn modelId="{3C52AF26-7600-4A22-8968-990E56DD4413}" srcId="{8A7609BD-350E-4833-8A3E-A1BCF52999FD}" destId="{BEB87259-2EA1-420A-8180-F33B7E6B3CD5}" srcOrd="2" destOrd="0" parTransId="{FF3D0062-42E7-4F1B-8F5A-C1E842AD4F10}" sibTransId="{E61C9007-389F-4F55-9293-6058E7A0D486}"/>
    <dgm:cxn modelId="{67303F69-5B75-4BEE-BCB0-5BF82564E894}" type="presOf" srcId="{8A7609BD-350E-4833-8A3E-A1BCF52999FD}" destId="{58BB8B7C-939B-4021-8EF2-02CBD58651CE}" srcOrd="0" destOrd="0" presId="urn:microsoft.com/office/officeart/2005/8/layout/vList2"/>
    <dgm:cxn modelId="{11A9B949-609A-45A7-A0DC-A6008742A34B}" srcId="{8A7609BD-350E-4833-8A3E-A1BCF52999FD}" destId="{6EF17605-0C59-4A2D-9AB3-685F00D47CED}" srcOrd="1" destOrd="0" parTransId="{405CDD79-7E67-43CE-A1D8-AB2D74D97C1F}" sibTransId="{3A65D9C9-53F3-4105-B1C1-2715BCFE7FA7}"/>
    <dgm:cxn modelId="{8DC3F46B-15DF-42DD-BFAC-418AEF7B2475}" type="presOf" srcId="{6EF17605-0C59-4A2D-9AB3-685F00D47CED}" destId="{585292C2-56C7-48A2-A82E-A365E9B26771}" srcOrd="0" destOrd="0" presId="urn:microsoft.com/office/officeart/2005/8/layout/vList2"/>
    <dgm:cxn modelId="{83D5154E-E9CB-4179-93D9-7BC6D10BC815}" type="presOf" srcId="{52AB6C96-1B52-4392-B6E5-0FF32E2511A0}" destId="{9B117828-01CB-4F20-9616-01B6546E6B18}" srcOrd="0" destOrd="0" presId="urn:microsoft.com/office/officeart/2005/8/layout/vList2"/>
    <dgm:cxn modelId="{82E7C070-53E5-4A7F-9BCF-3FAB6D2F0D62}" type="presOf" srcId="{163DEEEC-0D0F-4DBD-A57C-7C3BE5791FC7}" destId="{9210F313-8F70-4924-8637-E71EDCF4490B}" srcOrd="0" destOrd="0" presId="urn:microsoft.com/office/officeart/2005/8/layout/vList2"/>
    <dgm:cxn modelId="{2CB05E51-B6CA-42B7-9D28-00C36D0A4D1D}" srcId="{8A7609BD-350E-4833-8A3E-A1BCF52999FD}" destId="{52AB6C96-1B52-4392-B6E5-0FF32E2511A0}" srcOrd="3" destOrd="0" parTransId="{82066A56-73F2-4EF7-8D5B-C2716A65B188}" sibTransId="{0B67F1C8-BBFA-4308-80C5-0D40A235E08D}"/>
    <dgm:cxn modelId="{A88321B0-6C79-44A3-9838-6BE941C9959C}" type="presOf" srcId="{BEB87259-2EA1-420A-8180-F33B7E6B3CD5}" destId="{B4BF93F0-CB8A-4F2B-AF66-F0A2793AAE0F}" srcOrd="0" destOrd="0" presId="urn:microsoft.com/office/officeart/2005/8/layout/vList2"/>
    <dgm:cxn modelId="{39661AA8-022F-4F99-8998-C266F4777F4C}" type="presParOf" srcId="{58BB8B7C-939B-4021-8EF2-02CBD58651CE}" destId="{9210F313-8F70-4924-8637-E71EDCF4490B}" srcOrd="0" destOrd="0" presId="urn:microsoft.com/office/officeart/2005/8/layout/vList2"/>
    <dgm:cxn modelId="{8E61DA9B-E569-4A9F-91C3-5FE966034CBF}" type="presParOf" srcId="{58BB8B7C-939B-4021-8EF2-02CBD58651CE}" destId="{BA32B1D1-A124-4341-A824-98A0FA84027D}" srcOrd="1" destOrd="0" presId="urn:microsoft.com/office/officeart/2005/8/layout/vList2"/>
    <dgm:cxn modelId="{52A447D7-73E0-433B-B1B0-9C12C68C504A}" type="presParOf" srcId="{58BB8B7C-939B-4021-8EF2-02CBD58651CE}" destId="{585292C2-56C7-48A2-A82E-A365E9B26771}" srcOrd="2" destOrd="0" presId="urn:microsoft.com/office/officeart/2005/8/layout/vList2"/>
    <dgm:cxn modelId="{E9E3768C-75F5-4824-816A-69AAEDCD79D9}" type="presParOf" srcId="{58BB8B7C-939B-4021-8EF2-02CBD58651CE}" destId="{DAB6F00F-602E-4240-8B13-B288A9F9AA09}" srcOrd="3" destOrd="0" presId="urn:microsoft.com/office/officeart/2005/8/layout/vList2"/>
    <dgm:cxn modelId="{9F92BBAE-73BE-4F80-A7F4-E5F3F2C795C5}" type="presParOf" srcId="{58BB8B7C-939B-4021-8EF2-02CBD58651CE}" destId="{B4BF93F0-CB8A-4F2B-AF66-F0A2793AAE0F}" srcOrd="4" destOrd="0" presId="urn:microsoft.com/office/officeart/2005/8/layout/vList2"/>
    <dgm:cxn modelId="{B940ABB4-7353-4318-89A7-C5E39B2822B6}" type="presParOf" srcId="{58BB8B7C-939B-4021-8EF2-02CBD58651CE}" destId="{9C374A1F-C2BC-4E02-BFBC-41BA39A2B9E5}" srcOrd="5" destOrd="0" presId="urn:microsoft.com/office/officeart/2005/8/layout/vList2"/>
    <dgm:cxn modelId="{5F388DB5-402C-498C-918D-CD0A31BF7EA7}" type="presParOf" srcId="{58BB8B7C-939B-4021-8EF2-02CBD58651CE}" destId="{9B117828-01CB-4F20-9616-01B6546E6B18}" srcOrd="6" destOrd="0" presId="urn:microsoft.com/office/officeart/2005/8/layout/vList2"/>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586AADE-5F24-4867-B97E-44EBBEC36F4F}"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286583B8-B80A-45D6-8951-03A6146132A3}">
      <dgm:prSet phldrT="[Text]" custT="1"/>
      <dgm:spPr/>
      <dgm:t>
        <a:bodyPr/>
        <a:lstStyle/>
        <a:p>
          <a:r>
            <a:rPr lang="en-US" sz="3200" dirty="0"/>
            <a:t>Brief orientation to program</a:t>
          </a:r>
        </a:p>
      </dgm:t>
    </dgm:pt>
    <dgm:pt modelId="{EF22EABE-DEC0-4B74-B350-425A1CB509A8}" type="parTrans" cxnId="{6A9AE90F-143F-4833-BD28-B8CA039F6F95}">
      <dgm:prSet/>
      <dgm:spPr/>
      <dgm:t>
        <a:bodyPr/>
        <a:lstStyle/>
        <a:p>
          <a:endParaRPr lang="en-US" sz="2400"/>
        </a:p>
      </dgm:t>
    </dgm:pt>
    <dgm:pt modelId="{34CC77FC-9B56-4E49-BE27-90CC68401F4A}" type="sibTrans" cxnId="{6A9AE90F-143F-4833-BD28-B8CA039F6F95}">
      <dgm:prSet/>
      <dgm:spPr/>
      <dgm:t>
        <a:bodyPr/>
        <a:lstStyle/>
        <a:p>
          <a:endParaRPr lang="en-US" sz="2400"/>
        </a:p>
      </dgm:t>
    </dgm:pt>
    <dgm:pt modelId="{C987B479-C48E-4D22-86C0-35992BF75194}">
      <dgm:prSet custT="1"/>
      <dgm:spPr/>
      <dgm:t>
        <a:bodyPr/>
        <a:lstStyle/>
        <a:p>
          <a:r>
            <a:rPr lang="en-US" sz="3200" dirty="0"/>
            <a:t>Explanation of their role as a recruiter</a:t>
          </a:r>
        </a:p>
      </dgm:t>
    </dgm:pt>
    <dgm:pt modelId="{D83E8B60-501B-49D4-9DA3-20FFFF2DC441}" type="parTrans" cxnId="{F0965716-BEBB-4F6A-AF6E-E03EEE0E2C36}">
      <dgm:prSet/>
      <dgm:spPr/>
      <dgm:t>
        <a:bodyPr/>
        <a:lstStyle/>
        <a:p>
          <a:endParaRPr lang="en-US" sz="2400"/>
        </a:p>
      </dgm:t>
    </dgm:pt>
    <dgm:pt modelId="{31BF7118-8691-41AE-B049-A830814E6D04}" type="sibTrans" cxnId="{F0965716-BEBB-4F6A-AF6E-E03EEE0E2C36}">
      <dgm:prSet/>
      <dgm:spPr/>
      <dgm:t>
        <a:bodyPr/>
        <a:lstStyle/>
        <a:p>
          <a:endParaRPr lang="en-US" sz="2400"/>
        </a:p>
      </dgm:t>
    </dgm:pt>
    <dgm:pt modelId="{7DBE8CD6-E3E1-4C6A-9EE1-A6B1E85FA526}">
      <dgm:prSet custT="1"/>
      <dgm:spPr/>
      <dgm:t>
        <a:bodyPr/>
        <a:lstStyle/>
        <a:p>
          <a:r>
            <a:rPr lang="en-US" sz="2400" dirty="0"/>
            <a:t>May include written description of role</a:t>
          </a:r>
        </a:p>
      </dgm:t>
    </dgm:pt>
    <dgm:pt modelId="{C1F593D9-1A67-408F-89A1-E8767AE97903}" type="parTrans" cxnId="{F65C13F4-1163-4A88-B6E6-0CFD5E38B741}">
      <dgm:prSet/>
      <dgm:spPr/>
      <dgm:t>
        <a:bodyPr/>
        <a:lstStyle/>
        <a:p>
          <a:endParaRPr lang="en-US" sz="2400"/>
        </a:p>
      </dgm:t>
    </dgm:pt>
    <dgm:pt modelId="{D51CE0CB-9AC8-4661-9515-0BBBF0B6A563}" type="sibTrans" cxnId="{F65C13F4-1163-4A88-B6E6-0CFD5E38B741}">
      <dgm:prSet/>
      <dgm:spPr/>
      <dgm:t>
        <a:bodyPr/>
        <a:lstStyle/>
        <a:p>
          <a:endParaRPr lang="en-US" sz="2400"/>
        </a:p>
      </dgm:t>
    </dgm:pt>
    <dgm:pt modelId="{0B291967-2A1F-419D-A908-16C65CB4AEC1}">
      <dgm:prSet custT="1"/>
      <dgm:spPr/>
      <dgm:t>
        <a:bodyPr/>
        <a:lstStyle/>
        <a:p>
          <a:r>
            <a:rPr lang="en-US" sz="3200" dirty="0"/>
            <a:t>Coaching on how to approach peers for HIV testing and counseling (SNS-Form A)</a:t>
          </a:r>
        </a:p>
      </dgm:t>
    </dgm:pt>
    <dgm:pt modelId="{193408C9-406C-4718-810E-789DCC408CFD}" type="parTrans" cxnId="{AC48D1FA-5788-4C6F-9B74-9937FC6CE82C}">
      <dgm:prSet/>
      <dgm:spPr/>
      <dgm:t>
        <a:bodyPr/>
        <a:lstStyle/>
        <a:p>
          <a:endParaRPr lang="en-US" sz="2400"/>
        </a:p>
      </dgm:t>
    </dgm:pt>
    <dgm:pt modelId="{84A42FD6-4399-485F-998F-03A3E25EA86D}" type="sibTrans" cxnId="{AC48D1FA-5788-4C6F-9B74-9937FC6CE82C}">
      <dgm:prSet/>
      <dgm:spPr/>
      <dgm:t>
        <a:bodyPr/>
        <a:lstStyle/>
        <a:p>
          <a:endParaRPr lang="en-US" sz="2400"/>
        </a:p>
      </dgm:t>
    </dgm:pt>
    <dgm:pt modelId="{C8F609B5-BADC-4CEF-8DE7-AFB3FC40E40E}" type="pres">
      <dgm:prSet presAssocID="{E586AADE-5F24-4867-B97E-44EBBEC36F4F}" presName="linear" presStyleCnt="0">
        <dgm:presLayoutVars>
          <dgm:dir/>
          <dgm:resizeHandles val="exact"/>
        </dgm:presLayoutVars>
      </dgm:prSet>
      <dgm:spPr/>
    </dgm:pt>
    <dgm:pt modelId="{737A1B37-44E3-4F36-A246-1A909928DB9B}" type="pres">
      <dgm:prSet presAssocID="{286583B8-B80A-45D6-8951-03A6146132A3}" presName="comp" presStyleCnt="0"/>
      <dgm:spPr/>
    </dgm:pt>
    <dgm:pt modelId="{5E80A3ED-3468-426F-A4FF-C9398070A3C5}" type="pres">
      <dgm:prSet presAssocID="{286583B8-B80A-45D6-8951-03A6146132A3}" presName="box" presStyleLbl="node1" presStyleIdx="0" presStyleCnt="3"/>
      <dgm:spPr/>
    </dgm:pt>
    <dgm:pt modelId="{94E019F3-622D-421F-83D8-2408DA1548AD}" type="pres">
      <dgm:prSet presAssocID="{286583B8-B80A-45D6-8951-03A6146132A3}"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15000" b="-15000"/>
          </a:stretch>
        </a:blipFill>
      </dgm:spPr>
    </dgm:pt>
    <dgm:pt modelId="{99210C41-13C9-4EC6-B7FF-3197A0666771}" type="pres">
      <dgm:prSet presAssocID="{286583B8-B80A-45D6-8951-03A6146132A3}" presName="text" presStyleLbl="node1" presStyleIdx="0" presStyleCnt="3">
        <dgm:presLayoutVars>
          <dgm:bulletEnabled val="1"/>
        </dgm:presLayoutVars>
      </dgm:prSet>
      <dgm:spPr/>
    </dgm:pt>
    <dgm:pt modelId="{B026273F-B527-4148-8DE8-585B96EEE78F}" type="pres">
      <dgm:prSet presAssocID="{34CC77FC-9B56-4E49-BE27-90CC68401F4A}" presName="spacer" presStyleCnt="0"/>
      <dgm:spPr/>
    </dgm:pt>
    <dgm:pt modelId="{07E1188A-8B91-41A9-9E5B-BD340838FB55}" type="pres">
      <dgm:prSet presAssocID="{C987B479-C48E-4D22-86C0-35992BF75194}" presName="comp" presStyleCnt="0"/>
      <dgm:spPr/>
    </dgm:pt>
    <dgm:pt modelId="{41532153-8CE6-47DF-B390-D6AFCF6AD11D}" type="pres">
      <dgm:prSet presAssocID="{C987B479-C48E-4D22-86C0-35992BF75194}" presName="box" presStyleLbl="node1" presStyleIdx="1" presStyleCnt="3"/>
      <dgm:spPr/>
    </dgm:pt>
    <dgm:pt modelId="{A1FDE6B5-C699-4BB0-9AC9-ACB1447FD3CD}" type="pres">
      <dgm:prSet presAssocID="{C987B479-C48E-4D22-86C0-35992BF75194}" presName="img"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32000" b="-32000"/>
          </a:stretch>
        </a:blipFill>
      </dgm:spPr>
    </dgm:pt>
    <dgm:pt modelId="{DAB74189-4DEE-4F50-A433-1B00CA7DE4A0}" type="pres">
      <dgm:prSet presAssocID="{C987B479-C48E-4D22-86C0-35992BF75194}" presName="text" presStyleLbl="node1" presStyleIdx="1" presStyleCnt="3">
        <dgm:presLayoutVars>
          <dgm:bulletEnabled val="1"/>
        </dgm:presLayoutVars>
      </dgm:prSet>
      <dgm:spPr/>
    </dgm:pt>
    <dgm:pt modelId="{696549FB-BECE-489E-B7EF-CE41F0CF4A3E}" type="pres">
      <dgm:prSet presAssocID="{31BF7118-8691-41AE-B049-A830814E6D04}" presName="spacer" presStyleCnt="0"/>
      <dgm:spPr/>
    </dgm:pt>
    <dgm:pt modelId="{8A3325F6-E6F4-45AC-A30B-3C4B89534222}" type="pres">
      <dgm:prSet presAssocID="{0B291967-2A1F-419D-A908-16C65CB4AEC1}" presName="comp" presStyleCnt="0"/>
      <dgm:spPr/>
    </dgm:pt>
    <dgm:pt modelId="{C6EC671B-B0D3-452D-BC1D-D3DD0D989B16}" type="pres">
      <dgm:prSet presAssocID="{0B291967-2A1F-419D-A908-16C65CB4AEC1}" presName="box" presStyleLbl="node1" presStyleIdx="2" presStyleCnt="3"/>
      <dgm:spPr/>
    </dgm:pt>
    <dgm:pt modelId="{030CB5D2-3058-4D9F-A157-296254370329}" type="pres">
      <dgm:prSet presAssocID="{0B291967-2A1F-419D-A908-16C65CB4AEC1}" presName="img" presStyleLbl="fgImgPlace1" presStyleIdx="2" presStyleCnt="3"/>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8000" b="-8000"/>
          </a:stretch>
        </a:blipFill>
      </dgm:spPr>
    </dgm:pt>
    <dgm:pt modelId="{81773897-2AF6-47DA-92A2-57D341ED0829}" type="pres">
      <dgm:prSet presAssocID="{0B291967-2A1F-419D-A908-16C65CB4AEC1}" presName="text" presStyleLbl="node1" presStyleIdx="2" presStyleCnt="3">
        <dgm:presLayoutVars>
          <dgm:bulletEnabled val="1"/>
        </dgm:presLayoutVars>
      </dgm:prSet>
      <dgm:spPr/>
    </dgm:pt>
  </dgm:ptLst>
  <dgm:cxnLst>
    <dgm:cxn modelId="{33F3950A-3EDB-45B6-9491-0ABEB9DCC4E2}" type="presOf" srcId="{286583B8-B80A-45D6-8951-03A6146132A3}" destId="{5E80A3ED-3468-426F-A4FF-C9398070A3C5}" srcOrd="0" destOrd="0" presId="urn:microsoft.com/office/officeart/2005/8/layout/vList4"/>
    <dgm:cxn modelId="{FD590A0F-B22E-4B2F-8B9A-E0B1A93A69DD}" type="presOf" srcId="{C987B479-C48E-4D22-86C0-35992BF75194}" destId="{DAB74189-4DEE-4F50-A433-1B00CA7DE4A0}" srcOrd="1" destOrd="0" presId="urn:microsoft.com/office/officeart/2005/8/layout/vList4"/>
    <dgm:cxn modelId="{6A9AE90F-143F-4833-BD28-B8CA039F6F95}" srcId="{E586AADE-5F24-4867-B97E-44EBBEC36F4F}" destId="{286583B8-B80A-45D6-8951-03A6146132A3}" srcOrd="0" destOrd="0" parTransId="{EF22EABE-DEC0-4B74-B350-425A1CB509A8}" sibTransId="{34CC77FC-9B56-4E49-BE27-90CC68401F4A}"/>
    <dgm:cxn modelId="{F0965716-BEBB-4F6A-AF6E-E03EEE0E2C36}" srcId="{E586AADE-5F24-4867-B97E-44EBBEC36F4F}" destId="{C987B479-C48E-4D22-86C0-35992BF75194}" srcOrd="1" destOrd="0" parTransId="{D83E8B60-501B-49D4-9DA3-20FFFF2DC441}" sibTransId="{31BF7118-8691-41AE-B049-A830814E6D04}"/>
    <dgm:cxn modelId="{F9E7E31D-DF76-4E3F-B03C-8D52EE571A4D}" type="presOf" srcId="{7DBE8CD6-E3E1-4C6A-9EE1-A6B1E85FA526}" destId="{DAB74189-4DEE-4F50-A433-1B00CA7DE4A0}" srcOrd="1" destOrd="1" presId="urn:microsoft.com/office/officeart/2005/8/layout/vList4"/>
    <dgm:cxn modelId="{756B052A-67AC-45AF-A080-67E0304FB6EA}" type="presOf" srcId="{E586AADE-5F24-4867-B97E-44EBBEC36F4F}" destId="{C8F609B5-BADC-4CEF-8DE7-AFB3FC40E40E}" srcOrd="0" destOrd="0" presId="urn:microsoft.com/office/officeart/2005/8/layout/vList4"/>
    <dgm:cxn modelId="{2DCF7240-D219-4824-9883-0E4720FC474D}" type="presOf" srcId="{0B291967-2A1F-419D-A908-16C65CB4AEC1}" destId="{C6EC671B-B0D3-452D-BC1D-D3DD0D989B16}" srcOrd="0" destOrd="0" presId="urn:microsoft.com/office/officeart/2005/8/layout/vList4"/>
    <dgm:cxn modelId="{1B3AA46B-94E5-4408-99F8-51E4B2190070}" type="presOf" srcId="{7DBE8CD6-E3E1-4C6A-9EE1-A6B1E85FA526}" destId="{41532153-8CE6-47DF-B390-D6AFCF6AD11D}" srcOrd="0" destOrd="1" presId="urn:microsoft.com/office/officeart/2005/8/layout/vList4"/>
    <dgm:cxn modelId="{47B9856F-987A-44E3-B3BE-8ED3DEF475F7}" type="presOf" srcId="{C987B479-C48E-4D22-86C0-35992BF75194}" destId="{41532153-8CE6-47DF-B390-D6AFCF6AD11D}" srcOrd="0" destOrd="0" presId="urn:microsoft.com/office/officeart/2005/8/layout/vList4"/>
    <dgm:cxn modelId="{66FCE396-2FDD-431E-BF92-EEB2E19B69A9}" type="presOf" srcId="{0B291967-2A1F-419D-A908-16C65CB4AEC1}" destId="{81773897-2AF6-47DA-92A2-57D341ED0829}" srcOrd="1" destOrd="0" presId="urn:microsoft.com/office/officeart/2005/8/layout/vList4"/>
    <dgm:cxn modelId="{B9EEC8BA-BF0D-4E3E-B626-A480DD9114AD}" type="presOf" srcId="{286583B8-B80A-45D6-8951-03A6146132A3}" destId="{99210C41-13C9-4EC6-B7FF-3197A0666771}" srcOrd="1" destOrd="0" presId="urn:microsoft.com/office/officeart/2005/8/layout/vList4"/>
    <dgm:cxn modelId="{F65C13F4-1163-4A88-B6E6-0CFD5E38B741}" srcId="{C987B479-C48E-4D22-86C0-35992BF75194}" destId="{7DBE8CD6-E3E1-4C6A-9EE1-A6B1E85FA526}" srcOrd="0" destOrd="0" parTransId="{C1F593D9-1A67-408F-89A1-E8767AE97903}" sibTransId="{D51CE0CB-9AC8-4661-9515-0BBBF0B6A563}"/>
    <dgm:cxn modelId="{AC48D1FA-5788-4C6F-9B74-9937FC6CE82C}" srcId="{E586AADE-5F24-4867-B97E-44EBBEC36F4F}" destId="{0B291967-2A1F-419D-A908-16C65CB4AEC1}" srcOrd="2" destOrd="0" parTransId="{193408C9-406C-4718-810E-789DCC408CFD}" sibTransId="{84A42FD6-4399-485F-998F-03A3E25EA86D}"/>
    <dgm:cxn modelId="{25D9DF2D-8779-4CFC-B0D4-64FFC7062C8C}" type="presParOf" srcId="{C8F609B5-BADC-4CEF-8DE7-AFB3FC40E40E}" destId="{737A1B37-44E3-4F36-A246-1A909928DB9B}" srcOrd="0" destOrd="0" presId="urn:microsoft.com/office/officeart/2005/8/layout/vList4"/>
    <dgm:cxn modelId="{9A5F33DE-BFD7-44CC-8DCA-FCE27F57348A}" type="presParOf" srcId="{737A1B37-44E3-4F36-A246-1A909928DB9B}" destId="{5E80A3ED-3468-426F-A4FF-C9398070A3C5}" srcOrd="0" destOrd="0" presId="urn:microsoft.com/office/officeart/2005/8/layout/vList4"/>
    <dgm:cxn modelId="{F5A1301D-E129-4650-94A8-B11BE768A89A}" type="presParOf" srcId="{737A1B37-44E3-4F36-A246-1A909928DB9B}" destId="{94E019F3-622D-421F-83D8-2408DA1548AD}" srcOrd="1" destOrd="0" presId="urn:microsoft.com/office/officeart/2005/8/layout/vList4"/>
    <dgm:cxn modelId="{376610D6-C98A-40CB-A740-C3C5B2F99FDB}" type="presParOf" srcId="{737A1B37-44E3-4F36-A246-1A909928DB9B}" destId="{99210C41-13C9-4EC6-B7FF-3197A0666771}" srcOrd="2" destOrd="0" presId="urn:microsoft.com/office/officeart/2005/8/layout/vList4"/>
    <dgm:cxn modelId="{E82A95C0-264C-4076-B756-6552EBB67FC4}" type="presParOf" srcId="{C8F609B5-BADC-4CEF-8DE7-AFB3FC40E40E}" destId="{B026273F-B527-4148-8DE8-585B96EEE78F}" srcOrd="1" destOrd="0" presId="urn:microsoft.com/office/officeart/2005/8/layout/vList4"/>
    <dgm:cxn modelId="{C5AD9362-5BBB-4330-B7B2-06058237E1A0}" type="presParOf" srcId="{C8F609B5-BADC-4CEF-8DE7-AFB3FC40E40E}" destId="{07E1188A-8B91-41A9-9E5B-BD340838FB55}" srcOrd="2" destOrd="0" presId="urn:microsoft.com/office/officeart/2005/8/layout/vList4"/>
    <dgm:cxn modelId="{07F6C958-E242-4451-B790-AFF599C2DB2A}" type="presParOf" srcId="{07E1188A-8B91-41A9-9E5B-BD340838FB55}" destId="{41532153-8CE6-47DF-B390-D6AFCF6AD11D}" srcOrd="0" destOrd="0" presId="urn:microsoft.com/office/officeart/2005/8/layout/vList4"/>
    <dgm:cxn modelId="{25B60377-B11A-46D5-BB79-04554B81E547}" type="presParOf" srcId="{07E1188A-8B91-41A9-9E5B-BD340838FB55}" destId="{A1FDE6B5-C699-4BB0-9AC9-ACB1447FD3CD}" srcOrd="1" destOrd="0" presId="urn:microsoft.com/office/officeart/2005/8/layout/vList4"/>
    <dgm:cxn modelId="{D4220FBA-9AA7-47B9-94D3-DB01DF8D3310}" type="presParOf" srcId="{07E1188A-8B91-41A9-9E5B-BD340838FB55}" destId="{DAB74189-4DEE-4F50-A433-1B00CA7DE4A0}" srcOrd="2" destOrd="0" presId="urn:microsoft.com/office/officeart/2005/8/layout/vList4"/>
    <dgm:cxn modelId="{5FEF71C8-C9CC-4D09-B07A-F5F29CCB1BFF}" type="presParOf" srcId="{C8F609B5-BADC-4CEF-8DE7-AFB3FC40E40E}" destId="{696549FB-BECE-489E-B7EF-CE41F0CF4A3E}" srcOrd="3" destOrd="0" presId="urn:microsoft.com/office/officeart/2005/8/layout/vList4"/>
    <dgm:cxn modelId="{BB3B958F-E737-452B-ADBF-F05D7E883DDD}" type="presParOf" srcId="{C8F609B5-BADC-4CEF-8DE7-AFB3FC40E40E}" destId="{8A3325F6-E6F4-45AC-A30B-3C4B89534222}" srcOrd="4" destOrd="0" presId="urn:microsoft.com/office/officeart/2005/8/layout/vList4"/>
    <dgm:cxn modelId="{F011D8A6-ECB3-4373-9356-9E5BA8D7C8B7}" type="presParOf" srcId="{8A3325F6-E6F4-45AC-A30B-3C4B89534222}" destId="{C6EC671B-B0D3-452D-BC1D-D3DD0D989B16}" srcOrd="0" destOrd="0" presId="urn:microsoft.com/office/officeart/2005/8/layout/vList4"/>
    <dgm:cxn modelId="{AE93DD22-1D81-4174-9A5F-6E836A1602BB}" type="presParOf" srcId="{8A3325F6-E6F4-45AC-A30B-3C4B89534222}" destId="{030CB5D2-3058-4D9F-A157-296254370329}" srcOrd="1" destOrd="0" presId="urn:microsoft.com/office/officeart/2005/8/layout/vList4"/>
    <dgm:cxn modelId="{C4E4B894-367F-41E7-9ABE-656F91C00150}" type="presParOf" srcId="{8A3325F6-E6F4-45AC-A30B-3C4B89534222}" destId="{81773897-2AF6-47DA-92A2-57D341ED0829}"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E272A38-2C53-44FE-B9D3-27FB3F560A15}" type="doc">
      <dgm:prSet loTypeId="urn:microsoft.com/office/officeart/2011/layout/TabList" loCatId="list" qsTypeId="urn:microsoft.com/office/officeart/2005/8/quickstyle/simple1" qsCatId="simple" csTypeId="urn:microsoft.com/office/officeart/2005/8/colors/accent1_2" csCatId="accent1" phldr="1"/>
      <dgm:spPr/>
    </dgm:pt>
    <dgm:pt modelId="{20FAF760-850C-4957-AC41-C4661ED1B814}">
      <dgm:prSet phldrT="[Text]" custT="1"/>
      <dgm:spPr>
        <a:solidFill>
          <a:srgbClr val="42B0D2"/>
        </a:solidFill>
        <a:ln>
          <a:solidFill>
            <a:schemeClr val="accent1">
              <a:lumMod val="75000"/>
            </a:schemeClr>
          </a:solidFill>
        </a:ln>
      </dgm:spPr>
      <dgm:t>
        <a:bodyPr/>
        <a:lstStyle/>
        <a:p>
          <a:r>
            <a:rPr lang="en-US" sz="2800" b="1" dirty="0">
              <a:solidFill>
                <a:schemeClr val="bg1"/>
              </a:solidFill>
              <a:effectLst>
                <a:outerShdw blurRad="38100" dist="25400" dir="5400000" algn="ctr">
                  <a:srgbClr val="6E747A">
                    <a:alpha val="43000"/>
                  </a:srgbClr>
                </a:outerShdw>
              </a:effectLst>
            </a:rPr>
            <a:t>Step 1</a:t>
          </a:r>
          <a:endParaRPr lang="en-US" sz="2800" dirty="0">
            <a:solidFill>
              <a:schemeClr val="bg1"/>
            </a:solidFill>
          </a:endParaRPr>
        </a:p>
      </dgm:t>
    </dgm:pt>
    <dgm:pt modelId="{B95B3F5F-DA5B-44A2-9ED5-F96577A8C5FD}" type="parTrans" cxnId="{DFBC184C-2328-47D6-A9F3-710D68859AA8}">
      <dgm:prSet/>
      <dgm:spPr/>
      <dgm:t>
        <a:bodyPr/>
        <a:lstStyle/>
        <a:p>
          <a:endParaRPr lang="en-US" sz="1100">
            <a:solidFill>
              <a:schemeClr val="tx1"/>
            </a:solidFill>
          </a:endParaRPr>
        </a:p>
      </dgm:t>
    </dgm:pt>
    <dgm:pt modelId="{850A3B16-16E3-4CCF-A91A-003928001A0D}" type="sibTrans" cxnId="{DFBC184C-2328-47D6-A9F3-710D68859AA8}">
      <dgm:prSet/>
      <dgm:spPr/>
      <dgm:t>
        <a:bodyPr/>
        <a:lstStyle/>
        <a:p>
          <a:endParaRPr lang="en-US" sz="1100">
            <a:solidFill>
              <a:schemeClr val="tx1"/>
            </a:solidFill>
          </a:endParaRPr>
        </a:p>
      </dgm:t>
    </dgm:pt>
    <dgm:pt modelId="{0C3059E3-5EC9-41C8-B87B-53E69806AC17}">
      <dgm:prSet custT="1"/>
      <dgm:spPr>
        <a:solidFill>
          <a:srgbClr val="42B0D2"/>
        </a:solidFill>
        <a:ln>
          <a:solidFill>
            <a:schemeClr val="accent1">
              <a:lumMod val="75000"/>
            </a:schemeClr>
          </a:solidFill>
        </a:ln>
      </dgm:spPr>
      <dgm:t>
        <a:bodyPr/>
        <a:lstStyle/>
        <a:p>
          <a:r>
            <a:rPr lang="en-US" sz="2800" b="1" dirty="0">
              <a:solidFill>
                <a:schemeClr val="bg1"/>
              </a:solidFill>
              <a:effectLst>
                <a:outerShdw blurRad="38100" dist="25400" dir="5400000" algn="ctr">
                  <a:srgbClr val="6E747A">
                    <a:alpha val="43000"/>
                  </a:srgbClr>
                </a:outerShdw>
              </a:effectLst>
            </a:rPr>
            <a:t>Step 4</a:t>
          </a:r>
          <a:endParaRPr lang="en-US" sz="2800" dirty="0">
            <a:solidFill>
              <a:schemeClr val="bg1"/>
            </a:solidFill>
          </a:endParaRPr>
        </a:p>
      </dgm:t>
    </dgm:pt>
    <dgm:pt modelId="{9611FDC7-98B1-4429-98CE-6197D9B7715B}" type="parTrans" cxnId="{C14CEB5C-17A5-4136-B2B2-2155F8CED0BB}">
      <dgm:prSet/>
      <dgm:spPr/>
      <dgm:t>
        <a:bodyPr/>
        <a:lstStyle/>
        <a:p>
          <a:endParaRPr lang="en-US" sz="1100">
            <a:solidFill>
              <a:schemeClr val="tx1"/>
            </a:solidFill>
          </a:endParaRPr>
        </a:p>
      </dgm:t>
    </dgm:pt>
    <dgm:pt modelId="{6A072DB7-620C-4197-AFA6-1DFE1C3EABC8}" type="sibTrans" cxnId="{C14CEB5C-17A5-4136-B2B2-2155F8CED0BB}">
      <dgm:prSet/>
      <dgm:spPr/>
      <dgm:t>
        <a:bodyPr/>
        <a:lstStyle/>
        <a:p>
          <a:endParaRPr lang="en-US" sz="1100">
            <a:solidFill>
              <a:schemeClr val="tx1"/>
            </a:solidFill>
          </a:endParaRPr>
        </a:p>
      </dgm:t>
    </dgm:pt>
    <dgm:pt modelId="{F08856D8-2463-42EA-9A81-982886A54A0A}">
      <dgm:prSet custT="1"/>
      <dgm:spPr>
        <a:solidFill>
          <a:srgbClr val="42B0D2"/>
        </a:solidFill>
        <a:ln>
          <a:solidFill>
            <a:schemeClr val="accent1">
              <a:lumMod val="75000"/>
            </a:schemeClr>
          </a:solidFill>
        </a:ln>
      </dgm:spPr>
      <dgm:t>
        <a:bodyPr/>
        <a:lstStyle/>
        <a:p>
          <a:r>
            <a:rPr lang="en-US" sz="2800" b="1" dirty="0">
              <a:solidFill>
                <a:schemeClr val="bg1"/>
              </a:solidFill>
              <a:effectLst>
                <a:outerShdw blurRad="38100" dist="25400" dir="5400000" algn="ctr">
                  <a:srgbClr val="6E747A">
                    <a:alpha val="43000"/>
                  </a:srgbClr>
                </a:outerShdw>
              </a:effectLst>
            </a:rPr>
            <a:t>Step 5</a:t>
          </a:r>
          <a:endParaRPr lang="en-US" sz="2800" dirty="0">
            <a:solidFill>
              <a:schemeClr val="bg1"/>
            </a:solidFill>
          </a:endParaRPr>
        </a:p>
      </dgm:t>
    </dgm:pt>
    <dgm:pt modelId="{F88A7C26-C4F5-4150-9599-CB1B19A8A909}" type="parTrans" cxnId="{D5BA5E74-10AD-460B-8582-35B1253BB056}">
      <dgm:prSet/>
      <dgm:spPr/>
      <dgm:t>
        <a:bodyPr/>
        <a:lstStyle/>
        <a:p>
          <a:endParaRPr lang="en-US" sz="1100">
            <a:solidFill>
              <a:schemeClr val="tx1"/>
            </a:solidFill>
          </a:endParaRPr>
        </a:p>
      </dgm:t>
    </dgm:pt>
    <dgm:pt modelId="{CC30F780-360D-4F32-850C-61F5419DAA2A}" type="sibTrans" cxnId="{D5BA5E74-10AD-460B-8582-35B1253BB056}">
      <dgm:prSet/>
      <dgm:spPr/>
      <dgm:t>
        <a:bodyPr/>
        <a:lstStyle/>
        <a:p>
          <a:endParaRPr lang="en-US" sz="1100">
            <a:solidFill>
              <a:schemeClr val="tx1"/>
            </a:solidFill>
          </a:endParaRPr>
        </a:p>
      </dgm:t>
    </dgm:pt>
    <dgm:pt modelId="{687B0D9B-08E6-4E3C-8903-5934A9CC5ADF}">
      <dgm:prSet custT="1"/>
      <dgm:spPr>
        <a:solidFill>
          <a:srgbClr val="42B0D2"/>
        </a:solidFill>
        <a:ln>
          <a:solidFill>
            <a:schemeClr val="accent1">
              <a:lumMod val="75000"/>
            </a:schemeClr>
          </a:solidFill>
        </a:ln>
      </dgm:spPr>
      <dgm:t>
        <a:bodyPr/>
        <a:lstStyle/>
        <a:p>
          <a:r>
            <a:rPr lang="en-US" sz="2800" b="1" dirty="0">
              <a:solidFill>
                <a:schemeClr val="bg1"/>
              </a:solidFill>
              <a:effectLst>
                <a:outerShdw blurRad="38100" dist="25400" dir="5400000" algn="ctr">
                  <a:srgbClr val="6E747A">
                    <a:alpha val="43000"/>
                  </a:srgbClr>
                </a:outerShdw>
              </a:effectLst>
            </a:rPr>
            <a:t>Step 6</a:t>
          </a:r>
          <a:endParaRPr lang="en-US" sz="2800" dirty="0">
            <a:solidFill>
              <a:schemeClr val="bg1"/>
            </a:solidFill>
          </a:endParaRPr>
        </a:p>
      </dgm:t>
    </dgm:pt>
    <dgm:pt modelId="{399AC83A-D9DD-410B-96EC-F00128648299}" type="parTrans" cxnId="{38068E83-7778-4D96-8CA8-30FEBFC5FEC6}">
      <dgm:prSet/>
      <dgm:spPr/>
      <dgm:t>
        <a:bodyPr/>
        <a:lstStyle/>
        <a:p>
          <a:endParaRPr lang="en-US" sz="1100">
            <a:solidFill>
              <a:schemeClr val="tx1"/>
            </a:solidFill>
          </a:endParaRPr>
        </a:p>
      </dgm:t>
    </dgm:pt>
    <dgm:pt modelId="{48EF7954-FC3E-4B3A-9ACE-46B8789E6DF2}" type="sibTrans" cxnId="{38068E83-7778-4D96-8CA8-30FEBFC5FEC6}">
      <dgm:prSet/>
      <dgm:spPr/>
      <dgm:t>
        <a:bodyPr/>
        <a:lstStyle/>
        <a:p>
          <a:endParaRPr lang="en-US" sz="1100">
            <a:solidFill>
              <a:schemeClr val="tx1"/>
            </a:solidFill>
          </a:endParaRPr>
        </a:p>
      </dgm:t>
    </dgm:pt>
    <dgm:pt modelId="{177A54F0-9E4E-49BA-A4BB-60FA704ED1EF}">
      <dgm:prSet custT="1"/>
      <dgm:spPr>
        <a:solidFill>
          <a:srgbClr val="42B0D2"/>
        </a:solidFill>
        <a:ln>
          <a:solidFill>
            <a:schemeClr val="accent1">
              <a:lumMod val="75000"/>
            </a:schemeClr>
          </a:solidFill>
        </a:ln>
      </dgm:spPr>
      <dgm:t>
        <a:bodyPr/>
        <a:lstStyle/>
        <a:p>
          <a:r>
            <a:rPr lang="en-US" sz="2800" b="1" dirty="0">
              <a:solidFill>
                <a:schemeClr val="bg1"/>
              </a:solidFill>
              <a:effectLst>
                <a:outerShdw blurRad="38100" dist="25400" dir="5400000" algn="ctr">
                  <a:srgbClr val="6E747A">
                    <a:alpha val="43000"/>
                  </a:srgbClr>
                </a:outerShdw>
              </a:effectLst>
            </a:rPr>
            <a:t>Step 2</a:t>
          </a:r>
          <a:endParaRPr lang="en-US" sz="2800" dirty="0">
            <a:solidFill>
              <a:schemeClr val="bg1"/>
            </a:solidFill>
          </a:endParaRPr>
        </a:p>
      </dgm:t>
    </dgm:pt>
    <dgm:pt modelId="{3A4563AB-17D1-4FA2-9F32-83C879206C32}" type="sibTrans" cxnId="{4B31ED1D-9DAA-4F1E-87A3-B224BB7E206D}">
      <dgm:prSet/>
      <dgm:spPr/>
      <dgm:t>
        <a:bodyPr/>
        <a:lstStyle/>
        <a:p>
          <a:endParaRPr lang="en-US" sz="1100">
            <a:solidFill>
              <a:schemeClr val="tx1"/>
            </a:solidFill>
          </a:endParaRPr>
        </a:p>
      </dgm:t>
    </dgm:pt>
    <dgm:pt modelId="{414F3F26-9702-4594-96AD-03551B048771}" type="parTrans" cxnId="{4B31ED1D-9DAA-4F1E-87A3-B224BB7E206D}">
      <dgm:prSet/>
      <dgm:spPr/>
      <dgm:t>
        <a:bodyPr/>
        <a:lstStyle/>
        <a:p>
          <a:endParaRPr lang="en-US" sz="1100">
            <a:solidFill>
              <a:schemeClr val="tx1"/>
            </a:solidFill>
          </a:endParaRPr>
        </a:p>
      </dgm:t>
    </dgm:pt>
    <dgm:pt modelId="{5C1732B4-E7BD-4BB3-A1C8-63E650D3DF4C}">
      <dgm:prSet phldrT="[Text]" custT="1"/>
      <dgm:spPr/>
      <dgm:t>
        <a:bodyPr/>
        <a:lstStyle/>
        <a:p>
          <a:r>
            <a:rPr lang="en-US" sz="2000" b="1" dirty="0">
              <a:solidFill>
                <a:schemeClr val="tx1"/>
              </a:solidFill>
              <a:effectLst/>
            </a:rPr>
            <a:t>Identify people in your network who [insert target audience] and who may be at risk of HIV infection. 	</a:t>
          </a:r>
        </a:p>
      </dgm:t>
    </dgm:pt>
    <dgm:pt modelId="{6135C85F-4CA5-413D-A979-3E8C5B6827EE}" type="parTrans" cxnId="{52936E56-042B-4B08-932E-A3C9B74A56C8}">
      <dgm:prSet/>
      <dgm:spPr/>
      <dgm:t>
        <a:bodyPr/>
        <a:lstStyle/>
        <a:p>
          <a:endParaRPr lang="en-US" sz="1100">
            <a:solidFill>
              <a:schemeClr val="tx1"/>
            </a:solidFill>
          </a:endParaRPr>
        </a:p>
      </dgm:t>
    </dgm:pt>
    <dgm:pt modelId="{3EE4E952-C4D5-451A-97F0-D484FEE0AF42}" type="sibTrans" cxnId="{52936E56-042B-4B08-932E-A3C9B74A56C8}">
      <dgm:prSet/>
      <dgm:spPr/>
      <dgm:t>
        <a:bodyPr/>
        <a:lstStyle/>
        <a:p>
          <a:endParaRPr lang="en-US" sz="1100">
            <a:solidFill>
              <a:schemeClr val="tx1"/>
            </a:solidFill>
          </a:endParaRPr>
        </a:p>
      </dgm:t>
    </dgm:pt>
    <dgm:pt modelId="{A979A638-0E91-48E3-B0E4-835925869D2F}">
      <dgm:prSet custT="1"/>
      <dgm:spPr/>
      <dgm:t>
        <a:bodyPr/>
        <a:lstStyle/>
        <a:p>
          <a:r>
            <a:rPr lang="en-US" sz="2000" b="1" dirty="0">
              <a:solidFill>
                <a:schemeClr val="tx1"/>
              </a:solidFill>
              <a:effectLst/>
            </a:rPr>
            <a:t>Consider if these network members may be interested in receiving an HIV test if they can receive a small incentive when they get tested.	</a:t>
          </a:r>
        </a:p>
      </dgm:t>
    </dgm:pt>
    <dgm:pt modelId="{FA72CBEF-E2F3-4BEB-8999-576F32059ADF}" type="parTrans" cxnId="{7DC3D8D6-2518-4536-8C7A-3C15565F42E9}">
      <dgm:prSet/>
      <dgm:spPr/>
      <dgm:t>
        <a:bodyPr/>
        <a:lstStyle/>
        <a:p>
          <a:endParaRPr lang="en-US" sz="1100">
            <a:solidFill>
              <a:schemeClr val="tx1"/>
            </a:solidFill>
          </a:endParaRPr>
        </a:p>
      </dgm:t>
    </dgm:pt>
    <dgm:pt modelId="{BA6B24FD-97B9-4A45-B70B-68C04A908272}" type="sibTrans" cxnId="{7DC3D8D6-2518-4536-8C7A-3C15565F42E9}">
      <dgm:prSet/>
      <dgm:spPr/>
      <dgm:t>
        <a:bodyPr/>
        <a:lstStyle/>
        <a:p>
          <a:endParaRPr lang="en-US" sz="1100">
            <a:solidFill>
              <a:schemeClr val="tx1"/>
            </a:solidFill>
          </a:endParaRPr>
        </a:p>
      </dgm:t>
    </dgm:pt>
    <dgm:pt modelId="{32B04FE7-8DB2-4628-B7E5-20F143C095BF}">
      <dgm:prSet custT="1"/>
      <dgm:spPr/>
      <dgm:t>
        <a:bodyPr/>
        <a:lstStyle/>
        <a:p>
          <a:r>
            <a:rPr lang="en-US" sz="2000" b="1" dirty="0">
              <a:solidFill>
                <a:schemeClr val="tx1"/>
              </a:solidFill>
              <a:effectLst/>
            </a:rPr>
            <a:t>Tell your network member that the results of his/her HIV test will never be shared with you.</a:t>
          </a:r>
        </a:p>
      </dgm:t>
    </dgm:pt>
    <dgm:pt modelId="{CA7B512A-862A-427B-9750-40A15557233E}" type="parTrans" cxnId="{57BF4AEE-F526-4317-8C6F-94D4C810366F}">
      <dgm:prSet/>
      <dgm:spPr/>
      <dgm:t>
        <a:bodyPr/>
        <a:lstStyle/>
        <a:p>
          <a:endParaRPr lang="en-US" sz="1100">
            <a:solidFill>
              <a:schemeClr val="tx1"/>
            </a:solidFill>
          </a:endParaRPr>
        </a:p>
      </dgm:t>
    </dgm:pt>
    <dgm:pt modelId="{756D3FD5-BE63-4CFE-8894-2BCCB7E419A2}" type="sibTrans" cxnId="{57BF4AEE-F526-4317-8C6F-94D4C810366F}">
      <dgm:prSet/>
      <dgm:spPr/>
      <dgm:t>
        <a:bodyPr/>
        <a:lstStyle/>
        <a:p>
          <a:endParaRPr lang="en-US" sz="1100">
            <a:solidFill>
              <a:schemeClr val="tx1"/>
            </a:solidFill>
          </a:endParaRPr>
        </a:p>
      </dgm:t>
    </dgm:pt>
    <dgm:pt modelId="{682F4289-7B16-479C-8A42-95B7790C729A}">
      <dgm:prSet custT="1"/>
      <dgm:spPr/>
      <dgm:t>
        <a:bodyPr/>
        <a:lstStyle/>
        <a:p>
          <a:r>
            <a:rPr lang="en-US" sz="2000" b="1" dirty="0">
              <a:solidFill>
                <a:schemeClr val="tx1"/>
              </a:solidFill>
              <a:effectLst/>
            </a:rPr>
            <a:t>A friendly professional can be reached by the phone number for any questions about HIV testing location or about their test results. </a:t>
          </a:r>
        </a:p>
      </dgm:t>
    </dgm:pt>
    <dgm:pt modelId="{8AC1D96C-E322-4B3E-9EBF-7B2F7346FDF9}" type="parTrans" cxnId="{E50C4630-270C-46A5-BB8E-EC39CEFD9DE7}">
      <dgm:prSet/>
      <dgm:spPr/>
      <dgm:t>
        <a:bodyPr/>
        <a:lstStyle/>
        <a:p>
          <a:endParaRPr lang="en-US" sz="1100">
            <a:solidFill>
              <a:schemeClr val="tx1"/>
            </a:solidFill>
          </a:endParaRPr>
        </a:p>
      </dgm:t>
    </dgm:pt>
    <dgm:pt modelId="{1A17FD72-685C-4F30-888E-4CD32A3B1B0E}" type="sibTrans" cxnId="{E50C4630-270C-46A5-BB8E-EC39CEFD9DE7}">
      <dgm:prSet/>
      <dgm:spPr/>
      <dgm:t>
        <a:bodyPr/>
        <a:lstStyle/>
        <a:p>
          <a:endParaRPr lang="en-US" sz="1100">
            <a:solidFill>
              <a:schemeClr val="tx1"/>
            </a:solidFill>
          </a:endParaRPr>
        </a:p>
      </dgm:t>
    </dgm:pt>
    <dgm:pt modelId="{EE464018-313F-4C42-8B3E-A2FCE8027CE8}">
      <dgm:prSet custT="1"/>
      <dgm:spPr/>
      <dgm:t>
        <a:bodyPr/>
        <a:lstStyle/>
        <a:p>
          <a:r>
            <a:rPr lang="en-US" sz="2000" b="1" dirty="0">
              <a:solidFill>
                <a:schemeClr val="tx1"/>
              </a:solidFill>
              <a:effectLst/>
            </a:rPr>
            <a:t>Contact the HIV testing location to inquire about any referral incentives owed to you. </a:t>
          </a:r>
        </a:p>
      </dgm:t>
    </dgm:pt>
    <dgm:pt modelId="{FAC7C56E-0E33-429E-A2D2-BE82F8CBB0BE}" type="parTrans" cxnId="{47CB8BE0-E78C-46D1-9DC4-3A6697FC90A6}">
      <dgm:prSet/>
      <dgm:spPr/>
      <dgm:t>
        <a:bodyPr/>
        <a:lstStyle/>
        <a:p>
          <a:endParaRPr lang="en-US" sz="1100">
            <a:solidFill>
              <a:schemeClr val="tx1"/>
            </a:solidFill>
          </a:endParaRPr>
        </a:p>
      </dgm:t>
    </dgm:pt>
    <dgm:pt modelId="{6232E6D7-173F-4ACF-BACC-E560E9C52E9B}" type="sibTrans" cxnId="{47CB8BE0-E78C-46D1-9DC4-3A6697FC90A6}">
      <dgm:prSet/>
      <dgm:spPr/>
      <dgm:t>
        <a:bodyPr/>
        <a:lstStyle/>
        <a:p>
          <a:endParaRPr lang="en-US" sz="1100">
            <a:solidFill>
              <a:schemeClr val="tx1"/>
            </a:solidFill>
          </a:endParaRPr>
        </a:p>
      </dgm:t>
    </dgm:pt>
    <dgm:pt modelId="{EA5742CE-EA86-49F1-972D-78C71C7820D2}">
      <dgm:prSet custT="1"/>
      <dgm:spPr>
        <a:solidFill>
          <a:srgbClr val="42B0D2"/>
        </a:solidFill>
        <a:ln>
          <a:solidFill>
            <a:schemeClr val="accent1">
              <a:lumMod val="75000"/>
            </a:schemeClr>
          </a:solidFill>
        </a:ln>
      </dgm:spPr>
      <dgm:t>
        <a:bodyPr/>
        <a:lstStyle/>
        <a:p>
          <a:r>
            <a:rPr lang="en-US" sz="2800" b="1">
              <a:solidFill>
                <a:schemeClr val="bg1"/>
              </a:solidFill>
              <a:effectLst>
                <a:outerShdw blurRad="38100" dist="25400" dir="5400000" algn="ctr">
                  <a:srgbClr val="6E747A">
                    <a:alpha val="43000"/>
                  </a:srgbClr>
                </a:outerShdw>
              </a:effectLst>
            </a:rPr>
            <a:t>Step 3</a:t>
          </a:r>
          <a:endParaRPr lang="en-US" sz="2800" b="1" dirty="0">
            <a:solidFill>
              <a:schemeClr val="bg1"/>
            </a:solidFill>
            <a:effectLst/>
          </a:endParaRPr>
        </a:p>
      </dgm:t>
    </dgm:pt>
    <dgm:pt modelId="{B988F3B0-C0F8-40C6-9595-5EBB92EED28A}" type="parTrans" cxnId="{EF20266B-186A-40AD-86D0-88F6152BBDEB}">
      <dgm:prSet/>
      <dgm:spPr/>
      <dgm:t>
        <a:bodyPr/>
        <a:lstStyle/>
        <a:p>
          <a:endParaRPr lang="en-US"/>
        </a:p>
      </dgm:t>
    </dgm:pt>
    <dgm:pt modelId="{EFED4A55-0161-40EF-9C97-362F0638613C}" type="sibTrans" cxnId="{EF20266B-186A-40AD-86D0-88F6152BBDEB}">
      <dgm:prSet/>
      <dgm:spPr/>
      <dgm:t>
        <a:bodyPr/>
        <a:lstStyle/>
        <a:p>
          <a:endParaRPr lang="en-US"/>
        </a:p>
      </dgm:t>
    </dgm:pt>
    <dgm:pt modelId="{78A9CED0-44F5-4C29-87F7-39CBC80ADB14}">
      <dgm:prSet custT="1"/>
      <dgm:spPr/>
      <dgm:t>
        <a:bodyPr/>
        <a:lstStyle/>
        <a:p>
          <a:r>
            <a:rPr lang="en-US" sz="2000" b="1" dirty="0">
              <a:solidFill>
                <a:schemeClr val="tx1"/>
              </a:solidFill>
              <a:effectLst/>
            </a:rPr>
            <a:t>You will receive referral coupons to give to them to direct them to a friendly and confidential HIV testing location.	</a:t>
          </a:r>
        </a:p>
      </dgm:t>
    </dgm:pt>
    <dgm:pt modelId="{42369231-58E6-4E90-8096-B13C79CE1896}" type="parTrans" cxnId="{9A20F7C0-4445-47BB-8E32-7B834567F0D6}">
      <dgm:prSet/>
      <dgm:spPr/>
      <dgm:t>
        <a:bodyPr/>
        <a:lstStyle/>
        <a:p>
          <a:endParaRPr lang="en-US"/>
        </a:p>
      </dgm:t>
    </dgm:pt>
    <dgm:pt modelId="{F536344A-51F4-408D-BA47-BAFDCF42B991}" type="sibTrans" cxnId="{9A20F7C0-4445-47BB-8E32-7B834567F0D6}">
      <dgm:prSet/>
      <dgm:spPr/>
      <dgm:t>
        <a:bodyPr/>
        <a:lstStyle/>
        <a:p>
          <a:endParaRPr lang="en-US"/>
        </a:p>
      </dgm:t>
    </dgm:pt>
    <dgm:pt modelId="{6A599BC1-4406-4FE0-B8FE-FB119DE2ADB3}">
      <dgm:prSet custT="1"/>
      <dgm:spPr>
        <a:solidFill>
          <a:srgbClr val="42B0D2"/>
        </a:solidFill>
        <a:ln>
          <a:solidFill>
            <a:schemeClr val="accent1">
              <a:lumMod val="75000"/>
            </a:schemeClr>
          </a:solidFill>
        </a:ln>
      </dgm:spPr>
      <dgm:t>
        <a:bodyPr/>
        <a:lstStyle/>
        <a:p>
          <a:r>
            <a:rPr lang="en-US" sz="2800" b="1" dirty="0">
              <a:solidFill>
                <a:schemeClr val="bg1"/>
              </a:solidFill>
              <a:effectLst>
                <a:outerShdw blurRad="38100" dist="25400" dir="5400000" algn="ctr">
                  <a:srgbClr val="6E747A">
                    <a:alpha val="43000"/>
                  </a:srgbClr>
                </a:outerShdw>
              </a:effectLst>
            </a:rPr>
            <a:t>Step 7</a:t>
          </a:r>
          <a:endParaRPr lang="en-US" sz="2800" dirty="0">
            <a:solidFill>
              <a:schemeClr val="bg1"/>
            </a:solidFill>
          </a:endParaRPr>
        </a:p>
      </dgm:t>
    </dgm:pt>
    <dgm:pt modelId="{D6AE0824-CF43-430E-8835-6F968340D07C}" type="parTrans" cxnId="{590A4594-60AE-4A7B-B8F2-A80764E85417}">
      <dgm:prSet/>
      <dgm:spPr/>
      <dgm:t>
        <a:bodyPr/>
        <a:lstStyle/>
        <a:p>
          <a:endParaRPr lang="en-US"/>
        </a:p>
      </dgm:t>
    </dgm:pt>
    <dgm:pt modelId="{931EC503-93D6-4509-A06C-1AD93C380A76}" type="sibTrans" cxnId="{590A4594-60AE-4A7B-B8F2-A80764E85417}">
      <dgm:prSet/>
      <dgm:spPr/>
      <dgm:t>
        <a:bodyPr/>
        <a:lstStyle/>
        <a:p>
          <a:endParaRPr lang="en-US"/>
        </a:p>
      </dgm:t>
    </dgm:pt>
    <dgm:pt modelId="{F748B420-2F8E-4C75-AD9F-0C4EEC2B8197}">
      <dgm:prSet custT="1"/>
      <dgm:spPr>
        <a:noFill/>
      </dgm:spPr>
      <dgm:t>
        <a:bodyPr/>
        <a:lstStyle/>
        <a:p>
          <a:r>
            <a:rPr lang="en-US" sz="2000" b="1" dirty="0">
              <a:solidFill>
                <a:schemeClr val="tx1"/>
              </a:solidFill>
              <a:effectLst/>
            </a:rPr>
            <a:t>Instructor: Refer to the </a:t>
          </a:r>
          <a:r>
            <a:rPr lang="en-US" sz="2000" b="1" u="sng" dirty="0">
              <a:solidFill>
                <a:srgbClr val="048DB8"/>
              </a:solidFill>
              <a:effectLst/>
            </a:rPr>
            <a:t>SNS Coaching Guide </a:t>
          </a:r>
          <a:r>
            <a:rPr lang="en-US" sz="2000" b="1" dirty="0">
              <a:solidFill>
                <a:schemeClr val="tx1"/>
              </a:solidFill>
              <a:effectLst/>
            </a:rPr>
            <a:t>for more intensive coaching to improve recruitment of high-risk network members.</a:t>
          </a:r>
          <a:endParaRPr lang="en-US" sz="2000" b="1" dirty="0">
            <a:solidFill>
              <a:schemeClr val="bg1"/>
            </a:solidFill>
          </a:endParaRPr>
        </a:p>
      </dgm:t>
    </dgm:pt>
    <dgm:pt modelId="{462491D3-CF7D-4853-A321-76722239E91A}" type="parTrans" cxnId="{B7F12458-D5A8-416E-9C5D-FF0E1C8C2229}">
      <dgm:prSet/>
      <dgm:spPr/>
      <dgm:t>
        <a:bodyPr/>
        <a:lstStyle/>
        <a:p>
          <a:endParaRPr lang="en-US"/>
        </a:p>
      </dgm:t>
    </dgm:pt>
    <dgm:pt modelId="{598CEAFC-291A-4274-804C-22F004DD060D}" type="sibTrans" cxnId="{B7F12458-D5A8-416E-9C5D-FF0E1C8C2229}">
      <dgm:prSet/>
      <dgm:spPr/>
      <dgm:t>
        <a:bodyPr/>
        <a:lstStyle/>
        <a:p>
          <a:endParaRPr lang="en-US"/>
        </a:p>
      </dgm:t>
    </dgm:pt>
    <dgm:pt modelId="{9F6BDDFF-B7EA-4717-A3F3-6866CA572F5F}" type="pres">
      <dgm:prSet presAssocID="{7E272A38-2C53-44FE-B9D3-27FB3F560A15}" presName="Name0" presStyleCnt="0">
        <dgm:presLayoutVars>
          <dgm:chMax/>
          <dgm:chPref val="3"/>
          <dgm:dir/>
          <dgm:animOne val="branch"/>
          <dgm:animLvl val="lvl"/>
        </dgm:presLayoutVars>
      </dgm:prSet>
      <dgm:spPr/>
    </dgm:pt>
    <dgm:pt modelId="{019A2C85-20F2-4581-8124-9F7A3BDC9C4A}" type="pres">
      <dgm:prSet presAssocID="{20FAF760-850C-4957-AC41-C4661ED1B814}" presName="composite" presStyleCnt="0"/>
      <dgm:spPr/>
    </dgm:pt>
    <dgm:pt modelId="{830000F8-F280-4F9B-8062-35D885DD4E3D}" type="pres">
      <dgm:prSet presAssocID="{20FAF760-850C-4957-AC41-C4661ED1B814}" presName="FirstChild" presStyleLbl="revTx" presStyleIdx="0" presStyleCnt="7" custScaleX="108773" custScaleY="98095" custLinFactNeighborX="-6948">
        <dgm:presLayoutVars>
          <dgm:chMax val="0"/>
          <dgm:chPref val="0"/>
          <dgm:bulletEnabled val="1"/>
        </dgm:presLayoutVars>
      </dgm:prSet>
      <dgm:spPr/>
    </dgm:pt>
    <dgm:pt modelId="{EBAB70A7-44D3-467B-8A46-902E089E621C}" type="pres">
      <dgm:prSet presAssocID="{20FAF760-850C-4957-AC41-C4661ED1B814}" presName="Parent" presStyleLbl="alignNode1" presStyleIdx="0" presStyleCnt="7" custScaleX="54243" custScaleY="97598" custLinFactNeighborX="-21667">
        <dgm:presLayoutVars>
          <dgm:chMax val="3"/>
          <dgm:chPref val="3"/>
          <dgm:bulletEnabled val="1"/>
        </dgm:presLayoutVars>
      </dgm:prSet>
      <dgm:spPr/>
    </dgm:pt>
    <dgm:pt modelId="{D63DC07A-0E55-4529-A9D0-D43BB0AB98C6}" type="pres">
      <dgm:prSet presAssocID="{20FAF760-850C-4957-AC41-C4661ED1B814}" presName="Accent" presStyleLbl="parChTrans1D1" presStyleIdx="0" presStyleCnt="7"/>
      <dgm:spPr>
        <a:ln>
          <a:solidFill>
            <a:srgbClr val="42B0D2"/>
          </a:solidFill>
        </a:ln>
      </dgm:spPr>
    </dgm:pt>
    <dgm:pt modelId="{1B698772-A3F8-4F3B-AEF3-1AFA9467EE8E}" type="pres">
      <dgm:prSet presAssocID="{850A3B16-16E3-4CCF-A91A-003928001A0D}" presName="sibTrans" presStyleCnt="0"/>
      <dgm:spPr/>
    </dgm:pt>
    <dgm:pt modelId="{84A2F104-E9EF-4492-B58C-2561ACFC45D5}" type="pres">
      <dgm:prSet presAssocID="{177A54F0-9E4E-49BA-A4BB-60FA704ED1EF}" presName="composite" presStyleCnt="0"/>
      <dgm:spPr/>
    </dgm:pt>
    <dgm:pt modelId="{CA6E0C96-1CE4-4D08-86B9-D569E1D6744A}" type="pres">
      <dgm:prSet presAssocID="{177A54F0-9E4E-49BA-A4BB-60FA704ED1EF}" presName="FirstChild" presStyleLbl="revTx" presStyleIdx="1" presStyleCnt="7" custScaleX="108706" custScaleY="80656" custLinFactNeighborX="-6948">
        <dgm:presLayoutVars>
          <dgm:chMax val="0"/>
          <dgm:chPref val="0"/>
          <dgm:bulletEnabled val="1"/>
        </dgm:presLayoutVars>
      </dgm:prSet>
      <dgm:spPr/>
    </dgm:pt>
    <dgm:pt modelId="{9283B72D-007A-4BC7-A604-CB9D127F5029}" type="pres">
      <dgm:prSet presAssocID="{177A54F0-9E4E-49BA-A4BB-60FA704ED1EF}" presName="Parent" presStyleLbl="alignNode1" presStyleIdx="1" presStyleCnt="7" custScaleX="54243" custScaleY="97598" custLinFactNeighborX="-21667">
        <dgm:presLayoutVars>
          <dgm:chMax val="3"/>
          <dgm:chPref val="3"/>
          <dgm:bulletEnabled val="1"/>
        </dgm:presLayoutVars>
      </dgm:prSet>
      <dgm:spPr/>
    </dgm:pt>
    <dgm:pt modelId="{C72D0695-1F9C-4458-BA65-6873FEB5D334}" type="pres">
      <dgm:prSet presAssocID="{177A54F0-9E4E-49BA-A4BB-60FA704ED1EF}" presName="Accent" presStyleLbl="parChTrans1D1" presStyleIdx="1" presStyleCnt="7"/>
      <dgm:spPr>
        <a:ln>
          <a:solidFill>
            <a:srgbClr val="42B0D2"/>
          </a:solidFill>
        </a:ln>
      </dgm:spPr>
    </dgm:pt>
    <dgm:pt modelId="{F84349E0-90E0-46BA-B778-08AB6D9D2BCD}" type="pres">
      <dgm:prSet presAssocID="{3A4563AB-17D1-4FA2-9F32-83C879206C32}" presName="sibTrans" presStyleCnt="0"/>
      <dgm:spPr/>
    </dgm:pt>
    <dgm:pt modelId="{C9A73FCC-3268-4EF3-9FB8-009B2374459D}" type="pres">
      <dgm:prSet presAssocID="{EA5742CE-EA86-49F1-972D-78C71C7820D2}" presName="composite" presStyleCnt="0"/>
      <dgm:spPr/>
    </dgm:pt>
    <dgm:pt modelId="{9059B943-CF44-4C30-926F-91BD225D6C29}" type="pres">
      <dgm:prSet presAssocID="{EA5742CE-EA86-49F1-972D-78C71C7820D2}" presName="FirstChild" presStyleLbl="revTx" presStyleIdx="2" presStyleCnt="7" custAng="0" custScaleX="108809" custScaleY="74115" custLinFactNeighborX="-6948" custLinFactNeighborY="0">
        <dgm:presLayoutVars>
          <dgm:chMax val="0"/>
          <dgm:chPref val="0"/>
          <dgm:bulletEnabled val="1"/>
        </dgm:presLayoutVars>
      </dgm:prSet>
      <dgm:spPr/>
    </dgm:pt>
    <dgm:pt modelId="{7066335F-4F3F-49A2-B391-E6F9D5C92FC5}" type="pres">
      <dgm:prSet presAssocID="{EA5742CE-EA86-49F1-972D-78C71C7820D2}" presName="Parent" presStyleLbl="alignNode1" presStyleIdx="2" presStyleCnt="7" custScaleX="54243" custScaleY="97598" custLinFactNeighborX="-16611" custLinFactNeighborY="-1222">
        <dgm:presLayoutVars>
          <dgm:chMax val="3"/>
          <dgm:chPref val="3"/>
          <dgm:bulletEnabled val="1"/>
        </dgm:presLayoutVars>
      </dgm:prSet>
      <dgm:spPr/>
    </dgm:pt>
    <dgm:pt modelId="{038C2887-2FE4-495B-BB8B-24F3B2E0C7DE}" type="pres">
      <dgm:prSet presAssocID="{EA5742CE-EA86-49F1-972D-78C71C7820D2}" presName="Accent" presStyleLbl="parChTrans1D1" presStyleIdx="2" presStyleCnt="7"/>
      <dgm:spPr>
        <a:ln>
          <a:solidFill>
            <a:srgbClr val="42B0D2"/>
          </a:solidFill>
        </a:ln>
      </dgm:spPr>
    </dgm:pt>
    <dgm:pt modelId="{85C27911-A355-4F2C-B998-6AF95EEE9ED8}" type="pres">
      <dgm:prSet presAssocID="{EFED4A55-0161-40EF-9C97-362F0638613C}" presName="sibTrans" presStyleCnt="0"/>
      <dgm:spPr/>
    </dgm:pt>
    <dgm:pt modelId="{214705D9-5E00-40AB-94FC-4B020FC1BCEF}" type="pres">
      <dgm:prSet presAssocID="{0C3059E3-5EC9-41C8-B87B-53E69806AC17}" presName="composite" presStyleCnt="0"/>
      <dgm:spPr/>
    </dgm:pt>
    <dgm:pt modelId="{D62A15B1-386B-4F0F-8800-D7BA4B8136B9}" type="pres">
      <dgm:prSet presAssocID="{0C3059E3-5EC9-41C8-B87B-53E69806AC17}" presName="FirstChild" presStyleLbl="revTx" presStyleIdx="3" presStyleCnt="7" custScaleX="108114" custScaleY="89496" custLinFactNeighborX="-7495" custLinFactNeighborY="-1305">
        <dgm:presLayoutVars>
          <dgm:chMax val="0"/>
          <dgm:chPref val="0"/>
          <dgm:bulletEnabled val="1"/>
        </dgm:presLayoutVars>
      </dgm:prSet>
      <dgm:spPr/>
    </dgm:pt>
    <dgm:pt modelId="{498FD61C-77E7-439B-9D19-7D5AB459ECB9}" type="pres">
      <dgm:prSet presAssocID="{0C3059E3-5EC9-41C8-B87B-53E69806AC17}" presName="Parent" presStyleLbl="alignNode1" presStyleIdx="3" presStyleCnt="7" custScaleX="54243" custScaleY="97598" custLinFactNeighborX="-21667">
        <dgm:presLayoutVars>
          <dgm:chMax val="3"/>
          <dgm:chPref val="3"/>
          <dgm:bulletEnabled val="1"/>
        </dgm:presLayoutVars>
      </dgm:prSet>
      <dgm:spPr/>
    </dgm:pt>
    <dgm:pt modelId="{EF5656B7-2B5B-4BD1-BCFF-D2A30D3D0A2A}" type="pres">
      <dgm:prSet presAssocID="{0C3059E3-5EC9-41C8-B87B-53E69806AC17}" presName="Accent" presStyleLbl="parChTrans1D1" presStyleIdx="3" presStyleCnt="7"/>
      <dgm:spPr>
        <a:ln>
          <a:solidFill>
            <a:srgbClr val="42B0D2"/>
          </a:solidFill>
        </a:ln>
      </dgm:spPr>
    </dgm:pt>
    <dgm:pt modelId="{5FFB9EF7-789B-42E6-B770-74015B107D0A}" type="pres">
      <dgm:prSet presAssocID="{6A072DB7-620C-4197-AFA6-1DFE1C3EABC8}" presName="sibTrans" presStyleCnt="0"/>
      <dgm:spPr/>
    </dgm:pt>
    <dgm:pt modelId="{DA062B22-812A-40A1-B1DC-A32F1F125849}" type="pres">
      <dgm:prSet presAssocID="{F08856D8-2463-42EA-9A81-982886A54A0A}" presName="composite" presStyleCnt="0"/>
      <dgm:spPr/>
    </dgm:pt>
    <dgm:pt modelId="{2BEA2382-5F5B-4995-896E-C846C5EC6044}" type="pres">
      <dgm:prSet presAssocID="{F08856D8-2463-42EA-9A81-982886A54A0A}" presName="FirstChild" presStyleLbl="revTx" presStyleIdx="4" presStyleCnt="7" custScaleX="107728" custScaleY="94621" custLinFactNeighborX="-7606">
        <dgm:presLayoutVars>
          <dgm:chMax val="0"/>
          <dgm:chPref val="0"/>
          <dgm:bulletEnabled val="1"/>
        </dgm:presLayoutVars>
      </dgm:prSet>
      <dgm:spPr/>
    </dgm:pt>
    <dgm:pt modelId="{1F7AC62B-0D66-4789-B05C-1C1154D5E0F8}" type="pres">
      <dgm:prSet presAssocID="{F08856D8-2463-42EA-9A81-982886A54A0A}" presName="Parent" presStyleLbl="alignNode1" presStyleIdx="4" presStyleCnt="7" custScaleX="54243" custScaleY="97598" custLinFactNeighborX="-21667">
        <dgm:presLayoutVars>
          <dgm:chMax val="3"/>
          <dgm:chPref val="3"/>
          <dgm:bulletEnabled val="1"/>
        </dgm:presLayoutVars>
      </dgm:prSet>
      <dgm:spPr/>
    </dgm:pt>
    <dgm:pt modelId="{B8A7DDFC-2448-44C9-9770-7C4B88AB8C44}" type="pres">
      <dgm:prSet presAssocID="{F08856D8-2463-42EA-9A81-982886A54A0A}" presName="Accent" presStyleLbl="parChTrans1D1" presStyleIdx="4" presStyleCnt="7"/>
      <dgm:spPr>
        <a:ln>
          <a:solidFill>
            <a:srgbClr val="42B0D2"/>
          </a:solidFill>
        </a:ln>
      </dgm:spPr>
    </dgm:pt>
    <dgm:pt modelId="{759B4E17-2C03-4CCD-A5CB-22C5A3EC386D}" type="pres">
      <dgm:prSet presAssocID="{CC30F780-360D-4F32-850C-61F5419DAA2A}" presName="sibTrans" presStyleCnt="0"/>
      <dgm:spPr/>
    </dgm:pt>
    <dgm:pt modelId="{4B3FD088-1FC9-4771-81E9-44A4E0D7CDAF}" type="pres">
      <dgm:prSet presAssocID="{687B0D9B-08E6-4E3C-8903-5934A9CC5ADF}" presName="composite" presStyleCnt="0"/>
      <dgm:spPr/>
    </dgm:pt>
    <dgm:pt modelId="{6C5D2A6E-F33F-49EE-86C1-267417EA07CE}" type="pres">
      <dgm:prSet presAssocID="{687B0D9B-08E6-4E3C-8903-5934A9CC5ADF}" presName="FirstChild" presStyleLbl="revTx" presStyleIdx="5" presStyleCnt="7" custScaleX="108114" custScaleY="78268" custLinFactNeighborX="-7647">
        <dgm:presLayoutVars>
          <dgm:chMax val="0"/>
          <dgm:chPref val="0"/>
          <dgm:bulletEnabled val="1"/>
        </dgm:presLayoutVars>
      </dgm:prSet>
      <dgm:spPr/>
    </dgm:pt>
    <dgm:pt modelId="{25BEC446-C4D0-438F-8E1C-2935DFFF32F4}" type="pres">
      <dgm:prSet presAssocID="{687B0D9B-08E6-4E3C-8903-5934A9CC5ADF}" presName="Parent" presStyleLbl="alignNode1" presStyleIdx="5" presStyleCnt="7" custScaleX="54243" custScaleY="97598" custLinFactNeighborX="-21667">
        <dgm:presLayoutVars>
          <dgm:chMax val="3"/>
          <dgm:chPref val="3"/>
          <dgm:bulletEnabled val="1"/>
        </dgm:presLayoutVars>
      </dgm:prSet>
      <dgm:spPr/>
    </dgm:pt>
    <dgm:pt modelId="{A2A3E836-B8FB-4FB2-8295-36AD28F2A820}" type="pres">
      <dgm:prSet presAssocID="{687B0D9B-08E6-4E3C-8903-5934A9CC5ADF}" presName="Accent" presStyleLbl="parChTrans1D1" presStyleIdx="5" presStyleCnt="7"/>
      <dgm:spPr>
        <a:ln>
          <a:solidFill>
            <a:srgbClr val="42B0D2"/>
          </a:solidFill>
        </a:ln>
      </dgm:spPr>
    </dgm:pt>
    <dgm:pt modelId="{6337391E-2A4F-4AA7-ADEA-C61ECA09692F}" type="pres">
      <dgm:prSet presAssocID="{48EF7954-FC3E-4B3A-9ACE-46B8789E6DF2}" presName="sibTrans" presStyleCnt="0"/>
      <dgm:spPr/>
    </dgm:pt>
    <dgm:pt modelId="{47A54796-E970-4B70-8B8E-2145032DF962}" type="pres">
      <dgm:prSet presAssocID="{6A599BC1-4406-4FE0-B8FE-FB119DE2ADB3}" presName="composite" presStyleCnt="0"/>
      <dgm:spPr/>
    </dgm:pt>
    <dgm:pt modelId="{D4DA2991-1474-4D40-AD6C-98B9DCEB0A00}" type="pres">
      <dgm:prSet presAssocID="{6A599BC1-4406-4FE0-B8FE-FB119DE2ADB3}" presName="FirstChild" presStyleLbl="revTx" presStyleIdx="6" presStyleCnt="7" custScaleX="109190" custScaleY="78062" custLinFactNeighborX="-6849">
        <dgm:presLayoutVars>
          <dgm:chMax val="0"/>
          <dgm:chPref val="0"/>
          <dgm:bulletEnabled val="1"/>
        </dgm:presLayoutVars>
      </dgm:prSet>
      <dgm:spPr/>
    </dgm:pt>
    <dgm:pt modelId="{83888ACB-B087-40C7-BA0E-15EAE068B4F4}" type="pres">
      <dgm:prSet presAssocID="{6A599BC1-4406-4FE0-B8FE-FB119DE2ADB3}" presName="Parent" presStyleLbl="alignNode1" presStyleIdx="6" presStyleCnt="7" custScaleX="54243" custScaleY="97598" custLinFactNeighborX="-21667">
        <dgm:presLayoutVars>
          <dgm:chMax val="3"/>
          <dgm:chPref val="3"/>
          <dgm:bulletEnabled val="1"/>
        </dgm:presLayoutVars>
      </dgm:prSet>
      <dgm:spPr/>
    </dgm:pt>
    <dgm:pt modelId="{B639E108-A55B-4890-8F0C-6FF2B7B8E0D6}" type="pres">
      <dgm:prSet presAssocID="{6A599BC1-4406-4FE0-B8FE-FB119DE2ADB3}" presName="Accent" presStyleLbl="parChTrans1D1" presStyleIdx="6" presStyleCnt="7"/>
      <dgm:spPr/>
    </dgm:pt>
  </dgm:ptLst>
  <dgm:cxnLst>
    <dgm:cxn modelId="{CEB6AB09-3AA5-495F-B3FE-601149EA3F62}" type="presOf" srcId="{0C3059E3-5EC9-41C8-B87B-53E69806AC17}" destId="{498FD61C-77E7-439B-9D19-7D5AB459ECB9}" srcOrd="0" destOrd="0" presId="urn:microsoft.com/office/officeart/2011/layout/TabList"/>
    <dgm:cxn modelId="{D76F1218-5789-41E6-8F0B-EB42357AFC4E}" type="presOf" srcId="{32B04FE7-8DB2-4628-B7E5-20F143C095BF}" destId="{D62A15B1-386B-4F0F-8800-D7BA4B8136B9}" srcOrd="0" destOrd="0" presId="urn:microsoft.com/office/officeart/2011/layout/TabList"/>
    <dgm:cxn modelId="{4B31ED1D-9DAA-4F1E-87A3-B224BB7E206D}" srcId="{7E272A38-2C53-44FE-B9D3-27FB3F560A15}" destId="{177A54F0-9E4E-49BA-A4BB-60FA704ED1EF}" srcOrd="1" destOrd="0" parTransId="{414F3F26-9702-4594-96AD-03551B048771}" sibTransId="{3A4563AB-17D1-4FA2-9F32-83C879206C32}"/>
    <dgm:cxn modelId="{F98A3128-5FCF-44A6-9C95-23B639A50140}" type="presOf" srcId="{A979A638-0E91-48E3-B0E4-835925869D2F}" destId="{CA6E0C96-1CE4-4D08-86B9-D569E1D6744A}" srcOrd="0" destOrd="0" presId="urn:microsoft.com/office/officeart/2011/layout/TabList"/>
    <dgm:cxn modelId="{E50C4630-270C-46A5-BB8E-EC39CEFD9DE7}" srcId="{F08856D8-2463-42EA-9A81-982886A54A0A}" destId="{682F4289-7B16-479C-8A42-95B7790C729A}" srcOrd="0" destOrd="0" parTransId="{8AC1D96C-E322-4B3E-9EBF-7B2F7346FDF9}" sibTransId="{1A17FD72-685C-4F30-888E-4CD32A3B1B0E}"/>
    <dgm:cxn modelId="{C14CEB5C-17A5-4136-B2B2-2155F8CED0BB}" srcId="{7E272A38-2C53-44FE-B9D3-27FB3F560A15}" destId="{0C3059E3-5EC9-41C8-B87B-53E69806AC17}" srcOrd="3" destOrd="0" parTransId="{9611FDC7-98B1-4429-98CE-6197D9B7715B}" sibTransId="{6A072DB7-620C-4197-AFA6-1DFE1C3EABC8}"/>
    <dgm:cxn modelId="{3C7F075E-FAEA-49BF-B84B-194B35BAF730}" type="presOf" srcId="{687B0D9B-08E6-4E3C-8903-5934A9CC5ADF}" destId="{25BEC446-C4D0-438F-8E1C-2935DFFF32F4}" srcOrd="0" destOrd="0" presId="urn:microsoft.com/office/officeart/2011/layout/TabList"/>
    <dgm:cxn modelId="{E3803D60-D923-48ED-9BF7-DC5FEB523C8B}" type="presOf" srcId="{682F4289-7B16-479C-8A42-95B7790C729A}" destId="{2BEA2382-5F5B-4995-896E-C846C5EC6044}" srcOrd="0" destOrd="0" presId="urn:microsoft.com/office/officeart/2011/layout/TabList"/>
    <dgm:cxn modelId="{7242A565-1E17-4C2F-9B9C-D675EFB78F14}" type="presOf" srcId="{5C1732B4-E7BD-4BB3-A1C8-63E650D3DF4C}" destId="{830000F8-F280-4F9B-8062-35D885DD4E3D}" srcOrd="0" destOrd="0" presId="urn:microsoft.com/office/officeart/2011/layout/TabList"/>
    <dgm:cxn modelId="{EF20266B-186A-40AD-86D0-88F6152BBDEB}" srcId="{7E272A38-2C53-44FE-B9D3-27FB3F560A15}" destId="{EA5742CE-EA86-49F1-972D-78C71C7820D2}" srcOrd="2" destOrd="0" parTransId="{B988F3B0-C0F8-40C6-9595-5EBB92EED28A}" sibTransId="{EFED4A55-0161-40EF-9C97-362F0638613C}"/>
    <dgm:cxn modelId="{DFBC184C-2328-47D6-A9F3-710D68859AA8}" srcId="{7E272A38-2C53-44FE-B9D3-27FB3F560A15}" destId="{20FAF760-850C-4957-AC41-C4661ED1B814}" srcOrd="0" destOrd="0" parTransId="{B95B3F5F-DA5B-44A2-9ED5-F96577A8C5FD}" sibTransId="{850A3B16-16E3-4CCF-A91A-003928001A0D}"/>
    <dgm:cxn modelId="{7FE6F850-BF8D-4445-86B2-4D7CDE5C1ECD}" type="presOf" srcId="{EA5742CE-EA86-49F1-972D-78C71C7820D2}" destId="{7066335F-4F3F-49A2-B391-E6F9D5C92FC5}" srcOrd="0" destOrd="0" presId="urn:microsoft.com/office/officeart/2011/layout/TabList"/>
    <dgm:cxn modelId="{D5BA5E74-10AD-460B-8582-35B1253BB056}" srcId="{7E272A38-2C53-44FE-B9D3-27FB3F560A15}" destId="{F08856D8-2463-42EA-9A81-982886A54A0A}" srcOrd="4" destOrd="0" parTransId="{F88A7C26-C4F5-4150-9599-CB1B19A8A909}" sibTransId="{CC30F780-360D-4F32-850C-61F5419DAA2A}"/>
    <dgm:cxn modelId="{06E24555-EDEC-450E-BC44-6C56FA350E21}" type="presOf" srcId="{6A599BC1-4406-4FE0-B8FE-FB119DE2ADB3}" destId="{83888ACB-B087-40C7-BA0E-15EAE068B4F4}" srcOrd="0" destOrd="0" presId="urn:microsoft.com/office/officeart/2011/layout/TabList"/>
    <dgm:cxn modelId="{B1BD0256-AC85-4F75-A035-F3E942B3E398}" type="presOf" srcId="{78A9CED0-44F5-4C29-87F7-39CBC80ADB14}" destId="{9059B943-CF44-4C30-926F-91BD225D6C29}" srcOrd="0" destOrd="0" presId="urn:microsoft.com/office/officeart/2011/layout/TabList"/>
    <dgm:cxn modelId="{41B01276-50A8-418A-BD0D-BCB5AEC3A1AD}" type="presOf" srcId="{EE464018-313F-4C42-8B3E-A2FCE8027CE8}" destId="{6C5D2A6E-F33F-49EE-86C1-267417EA07CE}" srcOrd="0" destOrd="0" presId="urn:microsoft.com/office/officeart/2011/layout/TabList"/>
    <dgm:cxn modelId="{52936E56-042B-4B08-932E-A3C9B74A56C8}" srcId="{20FAF760-850C-4957-AC41-C4661ED1B814}" destId="{5C1732B4-E7BD-4BB3-A1C8-63E650D3DF4C}" srcOrd="0" destOrd="0" parTransId="{6135C85F-4CA5-413D-A979-3E8C5B6827EE}" sibTransId="{3EE4E952-C4D5-451A-97F0-D484FEE0AF42}"/>
    <dgm:cxn modelId="{B7F12458-D5A8-416E-9C5D-FF0E1C8C2229}" srcId="{6A599BC1-4406-4FE0-B8FE-FB119DE2ADB3}" destId="{F748B420-2F8E-4C75-AD9F-0C4EEC2B8197}" srcOrd="0" destOrd="0" parTransId="{462491D3-CF7D-4853-A321-76722239E91A}" sibTransId="{598CEAFC-291A-4274-804C-22F004DD060D}"/>
    <dgm:cxn modelId="{38068E83-7778-4D96-8CA8-30FEBFC5FEC6}" srcId="{7E272A38-2C53-44FE-B9D3-27FB3F560A15}" destId="{687B0D9B-08E6-4E3C-8903-5934A9CC5ADF}" srcOrd="5" destOrd="0" parTransId="{399AC83A-D9DD-410B-96EC-F00128648299}" sibTransId="{48EF7954-FC3E-4B3A-9ACE-46B8789E6DF2}"/>
    <dgm:cxn modelId="{5FD43487-E880-443C-A788-00EC5AB556EA}" type="presOf" srcId="{20FAF760-850C-4957-AC41-C4661ED1B814}" destId="{EBAB70A7-44D3-467B-8A46-902E089E621C}" srcOrd="0" destOrd="0" presId="urn:microsoft.com/office/officeart/2011/layout/TabList"/>
    <dgm:cxn modelId="{590A4594-60AE-4A7B-B8F2-A80764E85417}" srcId="{7E272A38-2C53-44FE-B9D3-27FB3F560A15}" destId="{6A599BC1-4406-4FE0-B8FE-FB119DE2ADB3}" srcOrd="6" destOrd="0" parTransId="{D6AE0824-CF43-430E-8835-6F968340D07C}" sibTransId="{931EC503-93D6-4509-A06C-1AD93C380A76}"/>
    <dgm:cxn modelId="{872E629D-BAD1-4EBB-897D-B8D2281205CF}" type="presOf" srcId="{F748B420-2F8E-4C75-AD9F-0C4EEC2B8197}" destId="{D4DA2991-1474-4D40-AD6C-98B9DCEB0A00}" srcOrd="0" destOrd="0" presId="urn:microsoft.com/office/officeart/2011/layout/TabList"/>
    <dgm:cxn modelId="{EA07C2B9-6185-4C5A-B318-07E655F9CFC3}" type="presOf" srcId="{F08856D8-2463-42EA-9A81-982886A54A0A}" destId="{1F7AC62B-0D66-4789-B05C-1C1154D5E0F8}" srcOrd="0" destOrd="0" presId="urn:microsoft.com/office/officeart/2011/layout/TabList"/>
    <dgm:cxn modelId="{9A20F7C0-4445-47BB-8E32-7B834567F0D6}" srcId="{EA5742CE-EA86-49F1-972D-78C71C7820D2}" destId="{78A9CED0-44F5-4C29-87F7-39CBC80ADB14}" srcOrd="0" destOrd="0" parTransId="{42369231-58E6-4E90-8096-B13C79CE1896}" sibTransId="{F536344A-51F4-408D-BA47-BAFDCF42B991}"/>
    <dgm:cxn modelId="{7DC3D8D6-2518-4536-8C7A-3C15565F42E9}" srcId="{177A54F0-9E4E-49BA-A4BB-60FA704ED1EF}" destId="{A979A638-0E91-48E3-B0E4-835925869D2F}" srcOrd="0" destOrd="0" parTransId="{FA72CBEF-E2F3-4BEB-8999-576F32059ADF}" sibTransId="{BA6B24FD-97B9-4A45-B70B-68C04A908272}"/>
    <dgm:cxn modelId="{47CB8BE0-E78C-46D1-9DC4-3A6697FC90A6}" srcId="{687B0D9B-08E6-4E3C-8903-5934A9CC5ADF}" destId="{EE464018-313F-4C42-8B3E-A2FCE8027CE8}" srcOrd="0" destOrd="0" parTransId="{FAC7C56E-0E33-429E-A2D2-BE82F8CBB0BE}" sibTransId="{6232E6D7-173F-4ACF-BACC-E560E9C52E9B}"/>
    <dgm:cxn modelId="{0E88EAED-5977-4258-BEB2-487FD09D43AF}" type="presOf" srcId="{7E272A38-2C53-44FE-B9D3-27FB3F560A15}" destId="{9F6BDDFF-B7EA-4717-A3F3-6866CA572F5F}" srcOrd="0" destOrd="0" presId="urn:microsoft.com/office/officeart/2011/layout/TabList"/>
    <dgm:cxn modelId="{57BF4AEE-F526-4317-8C6F-94D4C810366F}" srcId="{0C3059E3-5EC9-41C8-B87B-53E69806AC17}" destId="{32B04FE7-8DB2-4628-B7E5-20F143C095BF}" srcOrd="0" destOrd="0" parTransId="{CA7B512A-862A-427B-9750-40A15557233E}" sibTransId="{756D3FD5-BE63-4CFE-8894-2BCCB7E419A2}"/>
    <dgm:cxn modelId="{E523A3EE-74F7-4483-8DD4-06A7CEC6B4E3}" type="presOf" srcId="{177A54F0-9E4E-49BA-A4BB-60FA704ED1EF}" destId="{9283B72D-007A-4BC7-A604-CB9D127F5029}" srcOrd="0" destOrd="0" presId="urn:microsoft.com/office/officeart/2011/layout/TabList"/>
    <dgm:cxn modelId="{B2DCB1BA-00AA-46F5-80D2-1DA6C1D5D1E8}" type="presParOf" srcId="{9F6BDDFF-B7EA-4717-A3F3-6866CA572F5F}" destId="{019A2C85-20F2-4581-8124-9F7A3BDC9C4A}" srcOrd="0" destOrd="0" presId="urn:microsoft.com/office/officeart/2011/layout/TabList"/>
    <dgm:cxn modelId="{9F29550B-07CB-4007-A3DC-B5A8139DB695}" type="presParOf" srcId="{019A2C85-20F2-4581-8124-9F7A3BDC9C4A}" destId="{830000F8-F280-4F9B-8062-35D885DD4E3D}" srcOrd="0" destOrd="0" presId="urn:microsoft.com/office/officeart/2011/layout/TabList"/>
    <dgm:cxn modelId="{1C1F3955-4A61-435B-B91F-A7AFC3126828}" type="presParOf" srcId="{019A2C85-20F2-4581-8124-9F7A3BDC9C4A}" destId="{EBAB70A7-44D3-467B-8A46-902E089E621C}" srcOrd="1" destOrd="0" presId="urn:microsoft.com/office/officeart/2011/layout/TabList"/>
    <dgm:cxn modelId="{695EE626-85D5-44DA-8655-9EDD3DC4E37F}" type="presParOf" srcId="{019A2C85-20F2-4581-8124-9F7A3BDC9C4A}" destId="{D63DC07A-0E55-4529-A9D0-D43BB0AB98C6}" srcOrd="2" destOrd="0" presId="urn:microsoft.com/office/officeart/2011/layout/TabList"/>
    <dgm:cxn modelId="{2BF6D2F7-AC84-479A-BA2B-644B537692D9}" type="presParOf" srcId="{9F6BDDFF-B7EA-4717-A3F3-6866CA572F5F}" destId="{1B698772-A3F8-4F3B-AEF3-1AFA9467EE8E}" srcOrd="1" destOrd="0" presId="urn:microsoft.com/office/officeart/2011/layout/TabList"/>
    <dgm:cxn modelId="{C3AFBCB2-6416-49FE-827B-2A903419AEE3}" type="presParOf" srcId="{9F6BDDFF-B7EA-4717-A3F3-6866CA572F5F}" destId="{84A2F104-E9EF-4492-B58C-2561ACFC45D5}" srcOrd="2" destOrd="0" presId="urn:microsoft.com/office/officeart/2011/layout/TabList"/>
    <dgm:cxn modelId="{5E5B9C57-F371-45C9-BE15-8F55292DAE59}" type="presParOf" srcId="{84A2F104-E9EF-4492-B58C-2561ACFC45D5}" destId="{CA6E0C96-1CE4-4D08-86B9-D569E1D6744A}" srcOrd="0" destOrd="0" presId="urn:microsoft.com/office/officeart/2011/layout/TabList"/>
    <dgm:cxn modelId="{1BEBA9A2-A696-45E8-804C-F39B5F3538D5}" type="presParOf" srcId="{84A2F104-E9EF-4492-B58C-2561ACFC45D5}" destId="{9283B72D-007A-4BC7-A604-CB9D127F5029}" srcOrd="1" destOrd="0" presId="urn:microsoft.com/office/officeart/2011/layout/TabList"/>
    <dgm:cxn modelId="{6DA38987-E65A-47D0-9197-B97BE58C9C03}" type="presParOf" srcId="{84A2F104-E9EF-4492-B58C-2561ACFC45D5}" destId="{C72D0695-1F9C-4458-BA65-6873FEB5D334}" srcOrd="2" destOrd="0" presId="urn:microsoft.com/office/officeart/2011/layout/TabList"/>
    <dgm:cxn modelId="{5749DA06-C4B0-4855-BAB1-61BBC76B76D9}" type="presParOf" srcId="{9F6BDDFF-B7EA-4717-A3F3-6866CA572F5F}" destId="{F84349E0-90E0-46BA-B778-08AB6D9D2BCD}" srcOrd="3" destOrd="0" presId="urn:microsoft.com/office/officeart/2011/layout/TabList"/>
    <dgm:cxn modelId="{C163D925-DB61-44E8-A062-35E032028252}" type="presParOf" srcId="{9F6BDDFF-B7EA-4717-A3F3-6866CA572F5F}" destId="{C9A73FCC-3268-4EF3-9FB8-009B2374459D}" srcOrd="4" destOrd="0" presId="urn:microsoft.com/office/officeart/2011/layout/TabList"/>
    <dgm:cxn modelId="{D2002982-26E9-4DF8-9D69-21E9BFD71B2B}" type="presParOf" srcId="{C9A73FCC-3268-4EF3-9FB8-009B2374459D}" destId="{9059B943-CF44-4C30-926F-91BD225D6C29}" srcOrd="0" destOrd="0" presId="urn:microsoft.com/office/officeart/2011/layout/TabList"/>
    <dgm:cxn modelId="{E9388966-7AAB-48DD-9990-5FBB1FC58419}" type="presParOf" srcId="{C9A73FCC-3268-4EF3-9FB8-009B2374459D}" destId="{7066335F-4F3F-49A2-B391-E6F9D5C92FC5}" srcOrd="1" destOrd="0" presId="urn:microsoft.com/office/officeart/2011/layout/TabList"/>
    <dgm:cxn modelId="{CC59188D-D7AE-49C3-A916-A82B344231EE}" type="presParOf" srcId="{C9A73FCC-3268-4EF3-9FB8-009B2374459D}" destId="{038C2887-2FE4-495B-BB8B-24F3B2E0C7DE}" srcOrd="2" destOrd="0" presId="urn:microsoft.com/office/officeart/2011/layout/TabList"/>
    <dgm:cxn modelId="{C93C6868-FFE1-4565-A2C0-FD4FCFF8C910}" type="presParOf" srcId="{9F6BDDFF-B7EA-4717-A3F3-6866CA572F5F}" destId="{85C27911-A355-4F2C-B998-6AF95EEE9ED8}" srcOrd="5" destOrd="0" presId="urn:microsoft.com/office/officeart/2011/layout/TabList"/>
    <dgm:cxn modelId="{36184622-1030-4717-A1C4-D340287B3D75}" type="presParOf" srcId="{9F6BDDFF-B7EA-4717-A3F3-6866CA572F5F}" destId="{214705D9-5E00-40AB-94FC-4B020FC1BCEF}" srcOrd="6" destOrd="0" presId="urn:microsoft.com/office/officeart/2011/layout/TabList"/>
    <dgm:cxn modelId="{2B074AC0-E78D-40FB-8112-11421E938DA7}" type="presParOf" srcId="{214705D9-5E00-40AB-94FC-4B020FC1BCEF}" destId="{D62A15B1-386B-4F0F-8800-D7BA4B8136B9}" srcOrd="0" destOrd="0" presId="urn:microsoft.com/office/officeart/2011/layout/TabList"/>
    <dgm:cxn modelId="{E5ACD768-9D12-4E28-A8E3-EB360D90B36E}" type="presParOf" srcId="{214705D9-5E00-40AB-94FC-4B020FC1BCEF}" destId="{498FD61C-77E7-439B-9D19-7D5AB459ECB9}" srcOrd="1" destOrd="0" presId="urn:microsoft.com/office/officeart/2011/layout/TabList"/>
    <dgm:cxn modelId="{CA92DCC6-B652-4A88-B004-A6477526CB37}" type="presParOf" srcId="{214705D9-5E00-40AB-94FC-4B020FC1BCEF}" destId="{EF5656B7-2B5B-4BD1-BCFF-D2A30D3D0A2A}" srcOrd="2" destOrd="0" presId="urn:microsoft.com/office/officeart/2011/layout/TabList"/>
    <dgm:cxn modelId="{E37D50EE-DF2F-4B3B-8BCC-651CE6D6F278}" type="presParOf" srcId="{9F6BDDFF-B7EA-4717-A3F3-6866CA572F5F}" destId="{5FFB9EF7-789B-42E6-B770-74015B107D0A}" srcOrd="7" destOrd="0" presId="urn:microsoft.com/office/officeart/2011/layout/TabList"/>
    <dgm:cxn modelId="{B8524C66-3FE5-445F-947A-3C9224215628}" type="presParOf" srcId="{9F6BDDFF-B7EA-4717-A3F3-6866CA572F5F}" destId="{DA062B22-812A-40A1-B1DC-A32F1F125849}" srcOrd="8" destOrd="0" presId="urn:microsoft.com/office/officeart/2011/layout/TabList"/>
    <dgm:cxn modelId="{515B193D-9C0A-4231-B256-A87BA549B632}" type="presParOf" srcId="{DA062B22-812A-40A1-B1DC-A32F1F125849}" destId="{2BEA2382-5F5B-4995-896E-C846C5EC6044}" srcOrd="0" destOrd="0" presId="urn:microsoft.com/office/officeart/2011/layout/TabList"/>
    <dgm:cxn modelId="{1E6EEEC1-E356-44A2-A314-BFB40C33BACA}" type="presParOf" srcId="{DA062B22-812A-40A1-B1DC-A32F1F125849}" destId="{1F7AC62B-0D66-4789-B05C-1C1154D5E0F8}" srcOrd="1" destOrd="0" presId="urn:microsoft.com/office/officeart/2011/layout/TabList"/>
    <dgm:cxn modelId="{8934115A-5300-40BD-A0C0-07FD239B7888}" type="presParOf" srcId="{DA062B22-812A-40A1-B1DC-A32F1F125849}" destId="{B8A7DDFC-2448-44C9-9770-7C4B88AB8C44}" srcOrd="2" destOrd="0" presId="urn:microsoft.com/office/officeart/2011/layout/TabList"/>
    <dgm:cxn modelId="{B89A853F-CFAD-4BD0-8214-D052FDD7951D}" type="presParOf" srcId="{9F6BDDFF-B7EA-4717-A3F3-6866CA572F5F}" destId="{759B4E17-2C03-4CCD-A5CB-22C5A3EC386D}" srcOrd="9" destOrd="0" presId="urn:microsoft.com/office/officeart/2011/layout/TabList"/>
    <dgm:cxn modelId="{DBA35E91-B93D-4A01-98CC-03071395092E}" type="presParOf" srcId="{9F6BDDFF-B7EA-4717-A3F3-6866CA572F5F}" destId="{4B3FD088-1FC9-4771-81E9-44A4E0D7CDAF}" srcOrd="10" destOrd="0" presId="urn:microsoft.com/office/officeart/2011/layout/TabList"/>
    <dgm:cxn modelId="{BF2EA895-000E-4BB9-BB0D-DD5E04FF3A82}" type="presParOf" srcId="{4B3FD088-1FC9-4771-81E9-44A4E0D7CDAF}" destId="{6C5D2A6E-F33F-49EE-86C1-267417EA07CE}" srcOrd="0" destOrd="0" presId="urn:microsoft.com/office/officeart/2011/layout/TabList"/>
    <dgm:cxn modelId="{0F564DFA-0C6F-4D44-AD7D-F6928E36632F}" type="presParOf" srcId="{4B3FD088-1FC9-4771-81E9-44A4E0D7CDAF}" destId="{25BEC446-C4D0-438F-8E1C-2935DFFF32F4}" srcOrd="1" destOrd="0" presId="urn:microsoft.com/office/officeart/2011/layout/TabList"/>
    <dgm:cxn modelId="{7F1487EF-CBAE-41C5-B019-1E11000B511F}" type="presParOf" srcId="{4B3FD088-1FC9-4771-81E9-44A4E0D7CDAF}" destId="{A2A3E836-B8FB-4FB2-8295-36AD28F2A820}" srcOrd="2" destOrd="0" presId="urn:microsoft.com/office/officeart/2011/layout/TabList"/>
    <dgm:cxn modelId="{868D047A-62DC-4E5C-BC17-DECA49F6E84C}" type="presParOf" srcId="{9F6BDDFF-B7EA-4717-A3F3-6866CA572F5F}" destId="{6337391E-2A4F-4AA7-ADEA-C61ECA09692F}" srcOrd="11" destOrd="0" presId="urn:microsoft.com/office/officeart/2011/layout/TabList"/>
    <dgm:cxn modelId="{31074B5F-A066-49B3-ABE9-A2B15D5C6435}" type="presParOf" srcId="{9F6BDDFF-B7EA-4717-A3F3-6866CA572F5F}" destId="{47A54796-E970-4B70-8B8E-2145032DF962}" srcOrd="12" destOrd="0" presId="urn:microsoft.com/office/officeart/2011/layout/TabList"/>
    <dgm:cxn modelId="{87B7B30C-8A7B-4195-A69C-971DEDF19EB7}" type="presParOf" srcId="{47A54796-E970-4B70-8B8E-2145032DF962}" destId="{D4DA2991-1474-4D40-AD6C-98B9DCEB0A00}" srcOrd="0" destOrd="0" presId="urn:microsoft.com/office/officeart/2011/layout/TabList"/>
    <dgm:cxn modelId="{BF84C932-B254-4950-A3CD-BD34447390A6}" type="presParOf" srcId="{47A54796-E970-4B70-8B8E-2145032DF962}" destId="{83888ACB-B087-40C7-BA0E-15EAE068B4F4}" srcOrd="1" destOrd="0" presId="urn:microsoft.com/office/officeart/2011/layout/TabList"/>
    <dgm:cxn modelId="{E7B72304-526B-4595-8603-33C9CE0D0AD7}" type="presParOf" srcId="{47A54796-E970-4B70-8B8E-2145032DF962}" destId="{B639E108-A55B-4890-8F0C-6FF2B7B8E0D6}" srcOrd="2" destOrd="0" presId="urn:microsoft.com/office/officeart/2011/layout/Tab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EFFC888-ED81-4B00-8728-1D33C5115844}" type="doc">
      <dgm:prSet loTypeId="urn:microsoft.com/office/officeart/2009/layout/CirclePictureHierarchy" loCatId="hierarchy" qsTypeId="urn:microsoft.com/office/officeart/2005/8/quickstyle/simple1" qsCatId="simple" csTypeId="urn:microsoft.com/office/officeart/2005/8/colors/accent0_3" csCatId="mainScheme" phldr="1"/>
      <dgm:spPr/>
      <dgm:t>
        <a:bodyPr/>
        <a:lstStyle/>
        <a:p>
          <a:endParaRPr lang="en-US"/>
        </a:p>
      </dgm:t>
    </dgm:pt>
    <dgm:pt modelId="{7BCF893F-0160-496B-B50D-E7BC3A842A86}">
      <dgm:prSet phldrT="[Text]"/>
      <dgm:spPr/>
      <dgm:t>
        <a:bodyPr/>
        <a:lstStyle/>
        <a:p>
          <a:endParaRPr lang="en-US" dirty="0"/>
        </a:p>
      </dgm:t>
    </dgm:pt>
    <dgm:pt modelId="{E62B5D7F-E438-4402-8CC1-467749FB79C3}" type="parTrans" cxnId="{185C6DE2-7AD3-4B18-9D82-B4CB55D3A0D2}">
      <dgm:prSet/>
      <dgm:spPr/>
      <dgm:t>
        <a:bodyPr/>
        <a:lstStyle/>
        <a:p>
          <a:endParaRPr lang="en-US"/>
        </a:p>
      </dgm:t>
    </dgm:pt>
    <dgm:pt modelId="{CBED704C-F96B-4A39-8430-8EA98263D894}" type="sibTrans" cxnId="{185C6DE2-7AD3-4B18-9D82-B4CB55D3A0D2}">
      <dgm:prSet/>
      <dgm:spPr/>
      <dgm:t>
        <a:bodyPr/>
        <a:lstStyle/>
        <a:p>
          <a:endParaRPr lang="en-US"/>
        </a:p>
      </dgm:t>
    </dgm:pt>
    <dgm:pt modelId="{7DE44CF6-8655-40FC-ABD3-2C612F4B3920}">
      <dgm:prSet phldrT="[Text]"/>
      <dgm:spPr/>
      <dgm:t>
        <a:bodyPr/>
        <a:lstStyle/>
        <a:p>
          <a:endParaRPr lang="en-US" dirty="0"/>
        </a:p>
      </dgm:t>
    </dgm:pt>
    <dgm:pt modelId="{293246D7-0739-477D-8E0F-D1A496762FEB}" type="sibTrans" cxnId="{04331CA7-D47D-4D69-9D50-693773B5429C}">
      <dgm:prSet/>
      <dgm:spPr/>
      <dgm:t>
        <a:bodyPr/>
        <a:lstStyle/>
        <a:p>
          <a:endParaRPr lang="en-US"/>
        </a:p>
      </dgm:t>
    </dgm:pt>
    <dgm:pt modelId="{9F6981D0-298A-4D6B-A07B-0E00CACCCE8E}" type="parTrans" cxnId="{04331CA7-D47D-4D69-9D50-693773B5429C}">
      <dgm:prSet/>
      <dgm:spPr/>
      <dgm:t>
        <a:bodyPr/>
        <a:lstStyle/>
        <a:p>
          <a:endParaRPr lang="en-US"/>
        </a:p>
      </dgm:t>
    </dgm:pt>
    <dgm:pt modelId="{63B7773B-FB81-47CA-AD23-665D4B019FEF}">
      <dgm:prSet phldrT="[Text]"/>
      <dgm:spPr/>
      <dgm:t>
        <a:bodyPr/>
        <a:lstStyle/>
        <a:p>
          <a:endParaRPr lang="en-US" dirty="0"/>
        </a:p>
      </dgm:t>
    </dgm:pt>
    <dgm:pt modelId="{8DE165A2-6EAD-4A9A-8335-D08C8B0A5D79}" type="parTrans" cxnId="{593B6325-6F0A-4942-80A2-8B614A64353D}">
      <dgm:prSet/>
      <dgm:spPr/>
      <dgm:t>
        <a:bodyPr/>
        <a:lstStyle/>
        <a:p>
          <a:endParaRPr lang="en-US"/>
        </a:p>
      </dgm:t>
    </dgm:pt>
    <dgm:pt modelId="{6C7A0757-4956-464B-8197-ED443C2C5015}" type="sibTrans" cxnId="{593B6325-6F0A-4942-80A2-8B614A64353D}">
      <dgm:prSet/>
      <dgm:spPr/>
      <dgm:t>
        <a:bodyPr/>
        <a:lstStyle/>
        <a:p>
          <a:endParaRPr lang="en-US"/>
        </a:p>
      </dgm:t>
    </dgm:pt>
    <dgm:pt modelId="{9524C1B5-D60A-4114-BCEF-EF6C23E80F14}">
      <dgm:prSet phldrT="[Text]"/>
      <dgm:spPr/>
      <dgm:t>
        <a:bodyPr/>
        <a:lstStyle/>
        <a:p>
          <a:endParaRPr lang="en-US" dirty="0"/>
        </a:p>
      </dgm:t>
    </dgm:pt>
    <dgm:pt modelId="{5D4B1CE1-FDF0-43C0-BC16-5548ECEDA6F3}" type="sibTrans" cxnId="{5B60340E-ED67-4AFB-B49D-1465E9699C81}">
      <dgm:prSet/>
      <dgm:spPr/>
      <dgm:t>
        <a:bodyPr/>
        <a:lstStyle/>
        <a:p>
          <a:endParaRPr lang="en-US"/>
        </a:p>
      </dgm:t>
    </dgm:pt>
    <dgm:pt modelId="{DC5B118C-39C7-4089-9353-0C456C9225CB}" type="parTrans" cxnId="{5B60340E-ED67-4AFB-B49D-1465E9699C81}">
      <dgm:prSet/>
      <dgm:spPr>
        <a:ln>
          <a:solidFill>
            <a:schemeClr val="tx2">
              <a:lumMod val="50000"/>
            </a:schemeClr>
          </a:solidFill>
        </a:ln>
      </dgm:spPr>
      <dgm:t>
        <a:bodyPr/>
        <a:lstStyle/>
        <a:p>
          <a:endParaRPr lang="en-US"/>
        </a:p>
      </dgm:t>
    </dgm:pt>
    <dgm:pt modelId="{C3916520-1B0F-42B5-B3C1-4D01123F36A0}">
      <dgm:prSet phldrT="[Text]"/>
      <dgm:spPr/>
      <dgm:t>
        <a:bodyPr/>
        <a:lstStyle/>
        <a:p>
          <a:endParaRPr lang="en-US" dirty="0"/>
        </a:p>
      </dgm:t>
    </dgm:pt>
    <dgm:pt modelId="{C1026151-A85C-4828-9DF4-11013D24BA6E}" type="sibTrans" cxnId="{3D6C4A90-DA79-4BD9-BF1E-9E3FD728B383}">
      <dgm:prSet/>
      <dgm:spPr/>
      <dgm:t>
        <a:bodyPr/>
        <a:lstStyle/>
        <a:p>
          <a:endParaRPr lang="en-US"/>
        </a:p>
      </dgm:t>
    </dgm:pt>
    <dgm:pt modelId="{08BC5931-FF59-4924-9314-B86C610D2DAE}" type="parTrans" cxnId="{3D6C4A90-DA79-4BD9-BF1E-9E3FD728B383}">
      <dgm:prSet/>
      <dgm:spPr/>
      <dgm:t>
        <a:bodyPr/>
        <a:lstStyle/>
        <a:p>
          <a:endParaRPr lang="en-US"/>
        </a:p>
      </dgm:t>
    </dgm:pt>
    <dgm:pt modelId="{D6F1F1EB-F41B-4A4A-A9AA-FC85D0C06FBA}">
      <dgm:prSet phldrT="[Text]"/>
      <dgm:spPr/>
      <dgm:t>
        <a:bodyPr/>
        <a:lstStyle/>
        <a:p>
          <a:endParaRPr lang="en-US" dirty="0"/>
        </a:p>
      </dgm:t>
    </dgm:pt>
    <dgm:pt modelId="{5A53EEC9-F361-4AB5-8810-80C5FF678D5A}" type="sibTrans" cxnId="{C0E67A0C-95AC-4899-B093-1A707D67B862}">
      <dgm:prSet/>
      <dgm:spPr/>
      <dgm:t>
        <a:bodyPr/>
        <a:lstStyle/>
        <a:p>
          <a:endParaRPr lang="en-US"/>
        </a:p>
      </dgm:t>
    </dgm:pt>
    <dgm:pt modelId="{D763F2D7-C897-46BD-972E-21CD93FBE2FE}" type="parTrans" cxnId="{C0E67A0C-95AC-4899-B093-1A707D67B862}">
      <dgm:prSet/>
      <dgm:spPr/>
      <dgm:t>
        <a:bodyPr/>
        <a:lstStyle/>
        <a:p>
          <a:endParaRPr lang="en-US"/>
        </a:p>
      </dgm:t>
    </dgm:pt>
    <dgm:pt modelId="{71F80A6A-6EF9-4224-8AB5-A10B9B6DB8A6}">
      <dgm:prSet phldrT="[Text]"/>
      <dgm:spPr/>
      <dgm:t>
        <a:bodyPr/>
        <a:lstStyle/>
        <a:p>
          <a:endParaRPr lang="en-US" dirty="0"/>
        </a:p>
      </dgm:t>
    </dgm:pt>
    <dgm:pt modelId="{5C718469-E50B-40F3-87F5-6A9E15E7ACC1}" type="sibTrans" cxnId="{4EE4F4B2-FC2F-484B-AAF6-1A22394331AD}">
      <dgm:prSet/>
      <dgm:spPr/>
      <dgm:t>
        <a:bodyPr/>
        <a:lstStyle/>
        <a:p>
          <a:endParaRPr lang="en-US"/>
        </a:p>
      </dgm:t>
    </dgm:pt>
    <dgm:pt modelId="{60329709-6B84-4371-B259-529433872597}" type="parTrans" cxnId="{4EE4F4B2-FC2F-484B-AAF6-1A22394331AD}">
      <dgm:prSet/>
      <dgm:spPr/>
      <dgm:t>
        <a:bodyPr/>
        <a:lstStyle/>
        <a:p>
          <a:endParaRPr lang="en-US"/>
        </a:p>
      </dgm:t>
    </dgm:pt>
    <dgm:pt modelId="{92C36531-9868-41EE-A52E-D04F160D60C0}">
      <dgm:prSet phldrT="[Text]"/>
      <dgm:spPr/>
      <dgm:t>
        <a:bodyPr/>
        <a:lstStyle/>
        <a:p>
          <a:endParaRPr lang="en-US" dirty="0"/>
        </a:p>
      </dgm:t>
    </dgm:pt>
    <dgm:pt modelId="{E7FBBB13-374D-4BAE-8E76-21A930AF4D8F}" type="sibTrans" cxnId="{54A01AD9-C85C-41DF-931F-D90478039D62}">
      <dgm:prSet/>
      <dgm:spPr/>
      <dgm:t>
        <a:bodyPr/>
        <a:lstStyle/>
        <a:p>
          <a:endParaRPr lang="en-US"/>
        </a:p>
      </dgm:t>
    </dgm:pt>
    <dgm:pt modelId="{5ADB7DD9-9DB1-45ED-B5FC-48C4EADCA9F5}" type="parTrans" cxnId="{54A01AD9-C85C-41DF-931F-D90478039D62}">
      <dgm:prSet/>
      <dgm:spPr/>
      <dgm:t>
        <a:bodyPr/>
        <a:lstStyle/>
        <a:p>
          <a:endParaRPr lang="en-US"/>
        </a:p>
      </dgm:t>
    </dgm:pt>
    <dgm:pt modelId="{3F44ED43-A3A7-48B0-BFF5-FA0142DD3516}">
      <dgm:prSet phldrT="[Text]"/>
      <dgm:spPr/>
      <dgm:t>
        <a:bodyPr/>
        <a:lstStyle/>
        <a:p>
          <a:endParaRPr lang="en-US" dirty="0"/>
        </a:p>
      </dgm:t>
    </dgm:pt>
    <dgm:pt modelId="{D794CC38-5319-4C83-981B-9C051E90D56C}" type="sibTrans" cxnId="{0DB42DE2-3855-4D3B-93CE-EB68D4FDF875}">
      <dgm:prSet/>
      <dgm:spPr/>
      <dgm:t>
        <a:bodyPr/>
        <a:lstStyle/>
        <a:p>
          <a:endParaRPr lang="en-US"/>
        </a:p>
      </dgm:t>
    </dgm:pt>
    <dgm:pt modelId="{1C9C1947-C91E-46B8-9886-0B72E796BA89}" type="parTrans" cxnId="{0DB42DE2-3855-4D3B-93CE-EB68D4FDF875}">
      <dgm:prSet/>
      <dgm:spPr/>
      <dgm:t>
        <a:bodyPr/>
        <a:lstStyle/>
        <a:p>
          <a:endParaRPr lang="en-US"/>
        </a:p>
      </dgm:t>
    </dgm:pt>
    <dgm:pt modelId="{8605DFD3-F454-4068-97F5-360470ACCF0B}">
      <dgm:prSet phldrT="[Text]"/>
      <dgm:spPr/>
      <dgm:t>
        <a:bodyPr/>
        <a:lstStyle/>
        <a:p>
          <a:endParaRPr lang="en-US" dirty="0"/>
        </a:p>
      </dgm:t>
    </dgm:pt>
    <dgm:pt modelId="{4866355D-ADF6-4CFB-8D9C-665237177B44}" type="sibTrans" cxnId="{EE99E878-5C4A-4EC4-AE76-02925038395C}">
      <dgm:prSet/>
      <dgm:spPr/>
      <dgm:t>
        <a:bodyPr/>
        <a:lstStyle/>
        <a:p>
          <a:endParaRPr lang="en-US"/>
        </a:p>
      </dgm:t>
    </dgm:pt>
    <dgm:pt modelId="{001EE70A-F0EB-4BE5-812C-73B74ED86679}" type="parTrans" cxnId="{EE99E878-5C4A-4EC4-AE76-02925038395C}">
      <dgm:prSet/>
      <dgm:spPr/>
      <dgm:t>
        <a:bodyPr/>
        <a:lstStyle/>
        <a:p>
          <a:endParaRPr lang="en-US"/>
        </a:p>
      </dgm:t>
    </dgm:pt>
    <dgm:pt modelId="{3D6C250C-B952-43CC-942D-4F065AC4C548}">
      <dgm:prSet phldrT="[Text]"/>
      <dgm:spPr/>
      <dgm:t>
        <a:bodyPr/>
        <a:lstStyle/>
        <a:p>
          <a:endParaRPr lang="en-US" dirty="0"/>
        </a:p>
      </dgm:t>
    </dgm:pt>
    <dgm:pt modelId="{CA0CBB74-5632-427B-838E-7FE48E7ECF37}" type="sibTrans" cxnId="{137254F3-649D-43B7-B2C3-9682E304526F}">
      <dgm:prSet/>
      <dgm:spPr/>
      <dgm:t>
        <a:bodyPr/>
        <a:lstStyle/>
        <a:p>
          <a:endParaRPr lang="en-US"/>
        </a:p>
      </dgm:t>
    </dgm:pt>
    <dgm:pt modelId="{D039FE45-A378-4B7B-B7E8-C4B541FD820A}" type="parTrans" cxnId="{137254F3-649D-43B7-B2C3-9682E304526F}">
      <dgm:prSet/>
      <dgm:spPr/>
      <dgm:t>
        <a:bodyPr/>
        <a:lstStyle/>
        <a:p>
          <a:endParaRPr lang="en-US"/>
        </a:p>
      </dgm:t>
    </dgm:pt>
    <dgm:pt modelId="{8FAFA645-96C0-41B2-A225-E78CCE1D6784}">
      <dgm:prSet phldrT="[Text]"/>
      <dgm:spPr/>
      <dgm:t>
        <a:bodyPr/>
        <a:lstStyle/>
        <a:p>
          <a:endParaRPr lang="en-US" dirty="0"/>
        </a:p>
      </dgm:t>
    </dgm:pt>
    <dgm:pt modelId="{2AB0B82F-AEDD-42D6-A609-1CFB8E8D0352}" type="parTrans" cxnId="{BA846874-349B-486D-B999-CBCA30C3BAC3}">
      <dgm:prSet/>
      <dgm:spPr/>
      <dgm:t>
        <a:bodyPr/>
        <a:lstStyle/>
        <a:p>
          <a:endParaRPr lang="en-US"/>
        </a:p>
      </dgm:t>
    </dgm:pt>
    <dgm:pt modelId="{B62C9627-072F-4D5E-9D24-E2E979E7AF22}" type="sibTrans" cxnId="{BA846874-349B-486D-B999-CBCA30C3BAC3}">
      <dgm:prSet/>
      <dgm:spPr/>
      <dgm:t>
        <a:bodyPr/>
        <a:lstStyle/>
        <a:p>
          <a:endParaRPr lang="en-US"/>
        </a:p>
      </dgm:t>
    </dgm:pt>
    <dgm:pt modelId="{A814BCD6-9ED4-4616-867C-32E61D9824F7}">
      <dgm:prSet phldrT="[Text]"/>
      <dgm:spPr/>
      <dgm:t>
        <a:bodyPr/>
        <a:lstStyle/>
        <a:p>
          <a:endParaRPr lang="en-US" dirty="0"/>
        </a:p>
      </dgm:t>
    </dgm:pt>
    <dgm:pt modelId="{122528DD-A6A0-41EA-B59C-542E243988B0}" type="parTrans" cxnId="{BDCE420C-C7EC-40C9-8746-007D541F9711}">
      <dgm:prSet/>
      <dgm:spPr/>
      <dgm:t>
        <a:bodyPr/>
        <a:lstStyle/>
        <a:p>
          <a:endParaRPr lang="en-US"/>
        </a:p>
      </dgm:t>
    </dgm:pt>
    <dgm:pt modelId="{AF679BD1-9D26-4C85-ABED-7ED6D13B3FCA}" type="sibTrans" cxnId="{BDCE420C-C7EC-40C9-8746-007D541F9711}">
      <dgm:prSet/>
      <dgm:spPr/>
      <dgm:t>
        <a:bodyPr/>
        <a:lstStyle/>
        <a:p>
          <a:endParaRPr lang="en-US"/>
        </a:p>
      </dgm:t>
    </dgm:pt>
    <dgm:pt modelId="{15AE5FDA-F5F9-49B2-B558-E0DAC6B9181C}">
      <dgm:prSet phldrT="[Text]"/>
      <dgm:spPr/>
      <dgm:t>
        <a:bodyPr/>
        <a:lstStyle/>
        <a:p>
          <a:endParaRPr lang="en-US" dirty="0"/>
        </a:p>
      </dgm:t>
    </dgm:pt>
    <dgm:pt modelId="{E09AE2A3-AA5F-4C59-9305-200D3CC3E8F7}" type="parTrans" cxnId="{A137433B-4FD6-420C-9900-76E52F423E86}">
      <dgm:prSet/>
      <dgm:spPr/>
      <dgm:t>
        <a:bodyPr/>
        <a:lstStyle/>
        <a:p>
          <a:endParaRPr lang="en-US"/>
        </a:p>
      </dgm:t>
    </dgm:pt>
    <dgm:pt modelId="{23FE9B5D-54F5-494E-A14B-7445D36A572E}" type="sibTrans" cxnId="{A137433B-4FD6-420C-9900-76E52F423E86}">
      <dgm:prSet/>
      <dgm:spPr/>
      <dgm:t>
        <a:bodyPr/>
        <a:lstStyle/>
        <a:p>
          <a:endParaRPr lang="en-US"/>
        </a:p>
      </dgm:t>
    </dgm:pt>
    <dgm:pt modelId="{66B6B620-C181-4A6E-A12F-D31D5E74FB27}">
      <dgm:prSet phldrT="[Text]"/>
      <dgm:spPr/>
      <dgm:t>
        <a:bodyPr/>
        <a:lstStyle/>
        <a:p>
          <a:endParaRPr lang="en-US" dirty="0"/>
        </a:p>
      </dgm:t>
    </dgm:pt>
    <dgm:pt modelId="{628FA902-2207-4879-853D-8BCDDA5C5D7B}" type="parTrans" cxnId="{B666D08C-64AA-43A8-ADDB-E506E74812CA}">
      <dgm:prSet/>
      <dgm:spPr/>
      <dgm:t>
        <a:bodyPr/>
        <a:lstStyle/>
        <a:p>
          <a:endParaRPr lang="en-US"/>
        </a:p>
      </dgm:t>
    </dgm:pt>
    <dgm:pt modelId="{335EA962-8334-413B-A4A4-6121A405D7F0}" type="sibTrans" cxnId="{B666D08C-64AA-43A8-ADDB-E506E74812CA}">
      <dgm:prSet/>
      <dgm:spPr/>
      <dgm:t>
        <a:bodyPr/>
        <a:lstStyle/>
        <a:p>
          <a:endParaRPr lang="en-US"/>
        </a:p>
      </dgm:t>
    </dgm:pt>
    <dgm:pt modelId="{FFCB839C-4353-4CCC-858C-77769C471186}" type="pres">
      <dgm:prSet presAssocID="{DEFFC888-ED81-4B00-8728-1D33C5115844}" presName="hierChild1" presStyleCnt="0">
        <dgm:presLayoutVars>
          <dgm:chPref val="1"/>
          <dgm:dir/>
          <dgm:animOne val="branch"/>
          <dgm:animLvl val="lvl"/>
          <dgm:resizeHandles/>
        </dgm:presLayoutVars>
      </dgm:prSet>
      <dgm:spPr/>
    </dgm:pt>
    <dgm:pt modelId="{18963FEA-77B9-48EA-9DA5-715290394607}" type="pres">
      <dgm:prSet presAssocID="{7DE44CF6-8655-40FC-ABD3-2C612F4B3920}" presName="hierRoot1" presStyleCnt="0"/>
      <dgm:spPr/>
    </dgm:pt>
    <dgm:pt modelId="{F891D7DC-7174-4CF2-A960-717C14A8A0BA}" type="pres">
      <dgm:prSet presAssocID="{7DE44CF6-8655-40FC-ABD3-2C612F4B3920}" presName="composite" presStyleCnt="0"/>
      <dgm:spPr/>
    </dgm:pt>
    <dgm:pt modelId="{BBBED0FB-FA92-4246-9D11-5FF45C266D25}" type="pres">
      <dgm:prSet presAssocID="{7DE44CF6-8655-40FC-ABD3-2C612F4B3920}" presName="image" presStyleLbl="node0" presStyleIdx="0" presStyleCnt="1" custScaleX="158929" custScaleY="151768" custLinFactX="21858" custLinFactNeighborX="100000" custLinFactNeighborY="-41821"/>
      <dgm:spPr>
        <a:solidFill>
          <a:srgbClr val="C00000"/>
        </a:solidFill>
        <a:ln>
          <a:solidFill>
            <a:schemeClr val="tx2"/>
          </a:solidFill>
        </a:ln>
      </dgm:spPr>
    </dgm:pt>
    <dgm:pt modelId="{4E588701-8098-4E6B-85E2-9DBE2E7E6DD4}" type="pres">
      <dgm:prSet presAssocID="{7DE44CF6-8655-40FC-ABD3-2C612F4B3920}" presName="text" presStyleLbl="revTx" presStyleIdx="0" presStyleCnt="15">
        <dgm:presLayoutVars>
          <dgm:chPref val="3"/>
        </dgm:presLayoutVars>
      </dgm:prSet>
      <dgm:spPr/>
    </dgm:pt>
    <dgm:pt modelId="{17EF51C8-79C7-461D-8B2A-EB23EF13D828}" type="pres">
      <dgm:prSet presAssocID="{7DE44CF6-8655-40FC-ABD3-2C612F4B3920}" presName="hierChild2" presStyleCnt="0"/>
      <dgm:spPr/>
    </dgm:pt>
    <dgm:pt modelId="{A797478F-6FB2-47D6-B9B3-8DCD971E53BD}" type="pres">
      <dgm:prSet presAssocID="{8DE165A2-6EAD-4A9A-8335-D08C8B0A5D79}" presName="Name10" presStyleLbl="parChTrans1D2" presStyleIdx="0" presStyleCnt="4"/>
      <dgm:spPr/>
    </dgm:pt>
    <dgm:pt modelId="{77ECF703-A61A-41D5-8ED0-D094BE2CCA32}" type="pres">
      <dgm:prSet presAssocID="{63B7773B-FB81-47CA-AD23-665D4B019FEF}" presName="hierRoot2" presStyleCnt="0"/>
      <dgm:spPr/>
    </dgm:pt>
    <dgm:pt modelId="{4AC58200-01DD-44A5-A61B-6B00BA804833}" type="pres">
      <dgm:prSet presAssocID="{63B7773B-FB81-47CA-AD23-665D4B019FEF}" presName="composite2" presStyleCnt="0"/>
      <dgm:spPr/>
    </dgm:pt>
    <dgm:pt modelId="{D4E0EC67-4640-47B2-AA29-C3A1124B4314}" type="pres">
      <dgm:prSet presAssocID="{63B7773B-FB81-47CA-AD23-665D4B019FEF}" presName="image2" presStyleLbl="node2" presStyleIdx="0" presStyleCnt="4" custLinFactY="15665" custLinFactNeighborX="-515" custLinFactNeighborY="100000"/>
      <dgm:spPr>
        <a:solidFill>
          <a:srgbClr val="191D34"/>
        </a:solidFill>
        <a:ln>
          <a:solidFill>
            <a:srgbClr val="42B0D2"/>
          </a:solidFill>
        </a:ln>
      </dgm:spPr>
    </dgm:pt>
    <dgm:pt modelId="{BD1BEFA9-7A98-4DD7-9F84-E21EF8F9664C}" type="pres">
      <dgm:prSet presAssocID="{63B7773B-FB81-47CA-AD23-665D4B019FEF}" presName="text2" presStyleLbl="revTx" presStyleIdx="1" presStyleCnt="15">
        <dgm:presLayoutVars>
          <dgm:chPref val="3"/>
        </dgm:presLayoutVars>
      </dgm:prSet>
      <dgm:spPr/>
    </dgm:pt>
    <dgm:pt modelId="{0B795DDD-1C80-4FD7-B54D-5C2989ECEDEE}" type="pres">
      <dgm:prSet presAssocID="{63B7773B-FB81-47CA-AD23-665D4B019FEF}" presName="hierChild3" presStyleCnt="0"/>
      <dgm:spPr/>
    </dgm:pt>
    <dgm:pt modelId="{788E5C33-C5B4-4AD1-AF35-3C09C1B7CD84}" type="pres">
      <dgm:prSet presAssocID="{1C9C1947-C91E-46B8-9886-0B72E796BA89}" presName="Name10" presStyleLbl="parChTrans1D2" presStyleIdx="1" presStyleCnt="4"/>
      <dgm:spPr/>
    </dgm:pt>
    <dgm:pt modelId="{FAA47EF6-C64F-4367-B8E1-8004B88457E9}" type="pres">
      <dgm:prSet presAssocID="{3F44ED43-A3A7-48B0-BFF5-FA0142DD3516}" presName="hierRoot2" presStyleCnt="0"/>
      <dgm:spPr/>
    </dgm:pt>
    <dgm:pt modelId="{451EC58B-DCD7-47B2-9B7E-315B9A533A6A}" type="pres">
      <dgm:prSet presAssocID="{3F44ED43-A3A7-48B0-BFF5-FA0142DD3516}" presName="composite2" presStyleCnt="0"/>
      <dgm:spPr/>
    </dgm:pt>
    <dgm:pt modelId="{2686FFD5-6895-4633-BE55-E22AC4B06A06}" type="pres">
      <dgm:prSet presAssocID="{3F44ED43-A3A7-48B0-BFF5-FA0142DD3516}" presName="image2" presStyleLbl="node2" presStyleIdx="1" presStyleCnt="4" custLinFactX="11288" custLinFactY="15515" custLinFactNeighborX="100000" custLinFactNeighborY="100000"/>
      <dgm:spPr>
        <a:solidFill>
          <a:srgbClr val="212745"/>
        </a:solidFill>
        <a:ln>
          <a:solidFill>
            <a:schemeClr val="accent1"/>
          </a:solidFill>
        </a:ln>
      </dgm:spPr>
    </dgm:pt>
    <dgm:pt modelId="{3ACD0A78-708B-4E4A-8DC7-A51D2B5103D9}" type="pres">
      <dgm:prSet presAssocID="{3F44ED43-A3A7-48B0-BFF5-FA0142DD3516}" presName="text2" presStyleLbl="revTx" presStyleIdx="2" presStyleCnt="15">
        <dgm:presLayoutVars>
          <dgm:chPref val="3"/>
        </dgm:presLayoutVars>
      </dgm:prSet>
      <dgm:spPr/>
    </dgm:pt>
    <dgm:pt modelId="{E3980128-8897-4BCB-9122-23B3393CCF95}" type="pres">
      <dgm:prSet presAssocID="{3F44ED43-A3A7-48B0-BFF5-FA0142DD3516}" presName="hierChild3" presStyleCnt="0"/>
      <dgm:spPr/>
    </dgm:pt>
    <dgm:pt modelId="{7CE25267-C792-4756-8FC1-A6BE08FB4DA9}" type="pres">
      <dgm:prSet presAssocID="{D039FE45-A378-4B7B-B7E8-C4B541FD820A}" presName="Name17" presStyleLbl="parChTrans1D3" presStyleIdx="0" presStyleCnt="7"/>
      <dgm:spPr/>
    </dgm:pt>
    <dgm:pt modelId="{07596F42-8B99-47CD-8FE0-3D7DA2BA36E9}" type="pres">
      <dgm:prSet presAssocID="{3D6C250C-B952-43CC-942D-4F065AC4C548}" presName="hierRoot3" presStyleCnt="0"/>
      <dgm:spPr/>
    </dgm:pt>
    <dgm:pt modelId="{0A5F0FA1-6F6D-47CD-831D-6EB56F7098FE}" type="pres">
      <dgm:prSet presAssocID="{3D6C250C-B952-43CC-942D-4F065AC4C548}" presName="composite3" presStyleCnt="0"/>
      <dgm:spPr/>
    </dgm:pt>
    <dgm:pt modelId="{834D3748-7A07-4F49-B4FC-E806D1005EA2}" type="pres">
      <dgm:prSet presAssocID="{3D6C250C-B952-43CC-942D-4F065AC4C548}" presName="image3" presStyleLbl="node3" presStyleIdx="0" presStyleCnt="7" custScaleX="101643" custScaleY="100700" custLinFactX="5450" custLinFactY="100000" custLinFactNeighborX="100000" custLinFactNeighborY="100365"/>
      <dgm:spPr>
        <a:solidFill>
          <a:srgbClr val="C00000"/>
        </a:solidFill>
        <a:ln>
          <a:solidFill>
            <a:schemeClr val="tx1"/>
          </a:solidFill>
        </a:ln>
      </dgm:spPr>
    </dgm:pt>
    <dgm:pt modelId="{8A1715A8-28BD-4D56-B993-A88A1C0EBF67}" type="pres">
      <dgm:prSet presAssocID="{3D6C250C-B952-43CC-942D-4F065AC4C548}" presName="text3" presStyleLbl="revTx" presStyleIdx="3" presStyleCnt="15">
        <dgm:presLayoutVars>
          <dgm:chPref val="3"/>
        </dgm:presLayoutVars>
      </dgm:prSet>
      <dgm:spPr/>
    </dgm:pt>
    <dgm:pt modelId="{7321E29E-4121-4D79-8135-64CAB442DD54}" type="pres">
      <dgm:prSet presAssocID="{3D6C250C-B952-43CC-942D-4F065AC4C548}" presName="hierChild4" presStyleCnt="0"/>
      <dgm:spPr/>
    </dgm:pt>
    <dgm:pt modelId="{46B3EF1E-FB41-4184-8548-6D7621D2A272}" type="pres">
      <dgm:prSet presAssocID="{628FA902-2207-4879-853D-8BCDDA5C5D7B}" presName="Name17" presStyleLbl="parChTrans1D3" presStyleIdx="1" presStyleCnt="7"/>
      <dgm:spPr/>
    </dgm:pt>
    <dgm:pt modelId="{7888C065-3035-4E04-B82F-482786675DFF}" type="pres">
      <dgm:prSet presAssocID="{66B6B620-C181-4A6E-A12F-D31D5E74FB27}" presName="hierRoot3" presStyleCnt="0"/>
      <dgm:spPr/>
    </dgm:pt>
    <dgm:pt modelId="{BAB08AAC-4D73-42EF-BD10-EC51376DC9C0}" type="pres">
      <dgm:prSet presAssocID="{66B6B620-C181-4A6E-A12F-D31D5E74FB27}" presName="composite3" presStyleCnt="0"/>
      <dgm:spPr/>
    </dgm:pt>
    <dgm:pt modelId="{57302EFE-A3B5-4AD9-8F18-28337A6CBCFE}" type="pres">
      <dgm:prSet presAssocID="{66B6B620-C181-4A6E-A12F-D31D5E74FB27}" presName="image3" presStyleLbl="node3" presStyleIdx="1" presStyleCnt="7" custLinFactX="8754" custLinFactY="99440" custLinFactNeighborX="100000" custLinFactNeighborY="100000"/>
      <dgm:spPr>
        <a:solidFill>
          <a:srgbClr val="191D34"/>
        </a:solidFill>
      </dgm:spPr>
    </dgm:pt>
    <dgm:pt modelId="{93FB561B-289A-44F1-84FB-CF027A5E8C38}" type="pres">
      <dgm:prSet presAssocID="{66B6B620-C181-4A6E-A12F-D31D5E74FB27}" presName="text3" presStyleLbl="revTx" presStyleIdx="4" presStyleCnt="15">
        <dgm:presLayoutVars>
          <dgm:chPref val="3"/>
        </dgm:presLayoutVars>
      </dgm:prSet>
      <dgm:spPr/>
    </dgm:pt>
    <dgm:pt modelId="{FC3673A1-FE5A-43B7-8E63-A2E56E5F9509}" type="pres">
      <dgm:prSet presAssocID="{66B6B620-C181-4A6E-A12F-D31D5E74FB27}" presName="hierChild4" presStyleCnt="0"/>
      <dgm:spPr/>
    </dgm:pt>
    <dgm:pt modelId="{6471ED6C-96E8-4A08-A99C-5AF4EA7F39AE}" type="pres">
      <dgm:prSet presAssocID="{2AB0B82F-AEDD-42D6-A609-1CFB8E8D0352}" presName="Name17" presStyleLbl="parChTrans1D3" presStyleIdx="2" presStyleCnt="7"/>
      <dgm:spPr/>
    </dgm:pt>
    <dgm:pt modelId="{C3110638-8757-45BC-87CA-AA5929AF34BA}" type="pres">
      <dgm:prSet presAssocID="{8FAFA645-96C0-41B2-A225-E78CCE1D6784}" presName="hierRoot3" presStyleCnt="0"/>
      <dgm:spPr/>
    </dgm:pt>
    <dgm:pt modelId="{74F5041A-80CD-4D70-83C0-EFDDF040154C}" type="pres">
      <dgm:prSet presAssocID="{8FAFA645-96C0-41B2-A225-E78CCE1D6784}" presName="composite3" presStyleCnt="0"/>
      <dgm:spPr/>
    </dgm:pt>
    <dgm:pt modelId="{65A67265-51E9-4C1F-A170-D6E910320C63}" type="pres">
      <dgm:prSet presAssocID="{8FAFA645-96C0-41B2-A225-E78CCE1D6784}" presName="image3" presStyleLbl="node3" presStyleIdx="2" presStyleCnt="7" custLinFactY="100000" custLinFactNeighborX="94222" custLinFactNeighborY="100465"/>
      <dgm:spPr>
        <a:solidFill>
          <a:srgbClr val="C00000"/>
        </a:solidFill>
        <a:ln>
          <a:solidFill>
            <a:srgbClr val="212745"/>
          </a:solidFill>
        </a:ln>
      </dgm:spPr>
    </dgm:pt>
    <dgm:pt modelId="{4C147088-54FC-42BA-9BA1-D6CB608DA59E}" type="pres">
      <dgm:prSet presAssocID="{8FAFA645-96C0-41B2-A225-E78CCE1D6784}" presName="text3" presStyleLbl="revTx" presStyleIdx="5" presStyleCnt="15">
        <dgm:presLayoutVars>
          <dgm:chPref val="3"/>
        </dgm:presLayoutVars>
      </dgm:prSet>
      <dgm:spPr/>
    </dgm:pt>
    <dgm:pt modelId="{5BE9C579-041D-467C-88ED-30338376D366}" type="pres">
      <dgm:prSet presAssocID="{8FAFA645-96C0-41B2-A225-E78CCE1D6784}" presName="hierChild4" presStyleCnt="0"/>
      <dgm:spPr/>
    </dgm:pt>
    <dgm:pt modelId="{69C8BA1B-1622-4C20-93EE-E0DD7015F347}" type="pres">
      <dgm:prSet presAssocID="{001EE70A-F0EB-4BE5-812C-73B74ED86679}" presName="Name23" presStyleLbl="parChTrans1D4" presStyleIdx="0" presStyleCnt="3"/>
      <dgm:spPr/>
    </dgm:pt>
    <dgm:pt modelId="{7E1584CF-F9BB-44BE-8106-85FB43F810B6}" type="pres">
      <dgm:prSet presAssocID="{8605DFD3-F454-4068-97F5-360470ACCF0B}" presName="hierRoot4" presStyleCnt="0"/>
      <dgm:spPr/>
    </dgm:pt>
    <dgm:pt modelId="{46E4CA99-93E0-4AC7-BF23-98D9CEC9244E}" type="pres">
      <dgm:prSet presAssocID="{8605DFD3-F454-4068-97F5-360470ACCF0B}" presName="composite4" presStyleCnt="0"/>
      <dgm:spPr/>
    </dgm:pt>
    <dgm:pt modelId="{0FBBDE83-321D-466B-B2F5-43A62EA212A7}" type="pres">
      <dgm:prSet presAssocID="{8605DFD3-F454-4068-97F5-360470ACCF0B}" presName="image4" presStyleLbl="node4" presStyleIdx="0" presStyleCnt="3" custLinFactY="100000" custLinFactNeighborX="95303" custLinFactNeighborY="172141"/>
      <dgm:spPr>
        <a:solidFill>
          <a:srgbClr val="191D34"/>
        </a:solidFill>
        <a:ln>
          <a:solidFill>
            <a:schemeClr val="bg2"/>
          </a:solidFill>
        </a:ln>
      </dgm:spPr>
    </dgm:pt>
    <dgm:pt modelId="{50994E10-5596-4C97-8F3D-BA3188C6757E}" type="pres">
      <dgm:prSet presAssocID="{8605DFD3-F454-4068-97F5-360470ACCF0B}" presName="text4" presStyleLbl="revTx" presStyleIdx="6" presStyleCnt="15">
        <dgm:presLayoutVars>
          <dgm:chPref val="3"/>
        </dgm:presLayoutVars>
      </dgm:prSet>
      <dgm:spPr/>
    </dgm:pt>
    <dgm:pt modelId="{C23EDF28-9102-499C-B9CF-0AF391F33774}" type="pres">
      <dgm:prSet presAssocID="{8605DFD3-F454-4068-97F5-360470ACCF0B}" presName="hierChild5" presStyleCnt="0"/>
      <dgm:spPr/>
    </dgm:pt>
    <dgm:pt modelId="{80A5B0A2-BF5E-4543-8028-EF35ED05C0F2}" type="pres">
      <dgm:prSet presAssocID="{5ADB7DD9-9DB1-45ED-B5FC-48C4EADCA9F5}" presName="Name10" presStyleLbl="parChTrans1D2" presStyleIdx="2" presStyleCnt="4"/>
      <dgm:spPr/>
    </dgm:pt>
    <dgm:pt modelId="{15E5190F-FE08-45FB-8BF3-F5EA23175E22}" type="pres">
      <dgm:prSet presAssocID="{92C36531-9868-41EE-A52E-D04F160D60C0}" presName="hierRoot2" presStyleCnt="0"/>
      <dgm:spPr/>
    </dgm:pt>
    <dgm:pt modelId="{985748E1-670E-4FB3-8CF7-8245C2FE38A6}" type="pres">
      <dgm:prSet presAssocID="{92C36531-9868-41EE-A52E-D04F160D60C0}" presName="composite2" presStyleCnt="0"/>
      <dgm:spPr/>
    </dgm:pt>
    <dgm:pt modelId="{7F41D877-1B29-4EA2-B2A7-C6C711F1193B}" type="pres">
      <dgm:prSet presAssocID="{92C36531-9868-41EE-A52E-D04F160D60C0}" presName="image2" presStyleLbl="node2" presStyleIdx="2" presStyleCnt="4" custLinFactY="14349" custLinFactNeighborX="58382" custLinFactNeighborY="100000"/>
      <dgm:spPr>
        <a:solidFill>
          <a:srgbClr val="C00000"/>
        </a:solidFill>
        <a:ln>
          <a:solidFill>
            <a:schemeClr val="tx2">
              <a:lumMod val="50000"/>
            </a:schemeClr>
          </a:solidFill>
        </a:ln>
      </dgm:spPr>
    </dgm:pt>
    <dgm:pt modelId="{5A6EA69B-776E-438C-B810-A2FB017EC415}" type="pres">
      <dgm:prSet presAssocID="{92C36531-9868-41EE-A52E-D04F160D60C0}" presName="text2" presStyleLbl="revTx" presStyleIdx="7" presStyleCnt="15">
        <dgm:presLayoutVars>
          <dgm:chPref val="3"/>
        </dgm:presLayoutVars>
      </dgm:prSet>
      <dgm:spPr/>
    </dgm:pt>
    <dgm:pt modelId="{EDC52CF1-B637-4E7E-9935-EF4946A5DF64}" type="pres">
      <dgm:prSet presAssocID="{92C36531-9868-41EE-A52E-D04F160D60C0}" presName="hierChild3" presStyleCnt="0"/>
      <dgm:spPr/>
    </dgm:pt>
    <dgm:pt modelId="{7E1D6153-EF50-414B-B62D-31BAA28D2F0C}" type="pres">
      <dgm:prSet presAssocID="{08BC5931-FF59-4924-9314-B86C610D2DAE}" presName="Name17" presStyleLbl="parChTrans1D3" presStyleIdx="3" presStyleCnt="7"/>
      <dgm:spPr/>
    </dgm:pt>
    <dgm:pt modelId="{5F228B61-76CE-493E-B7E1-72F73C10CD9B}" type="pres">
      <dgm:prSet presAssocID="{C3916520-1B0F-42B5-B3C1-4D01123F36A0}" presName="hierRoot3" presStyleCnt="0"/>
      <dgm:spPr/>
    </dgm:pt>
    <dgm:pt modelId="{1B7DA107-19CC-4F49-952C-163BC0923338}" type="pres">
      <dgm:prSet presAssocID="{C3916520-1B0F-42B5-B3C1-4D01123F36A0}" presName="composite3" presStyleCnt="0"/>
      <dgm:spPr/>
    </dgm:pt>
    <dgm:pt modelId="{753D2C21-DC26-4EE6-A9DF-832D96E9F99A}" type="pres">
      <dgm:prSet presAssocID="{C3916520-1B0F-42B5-B3C1-4D01123F36A0}" presName="image3" presStyleLbl="node3" presStyleIdx="3" presStyleCnt="7" custLinFactY="100000" custLinFactNeighborX="40266" custLinFactNeighborY="101646"/>
      <dgm:spPr>
        <a:solidFill>
          <a:srgbClr val="191D34"/>
        </a:solidFill>
        <a:ln>
          <a:solidFill>
            <a:srgbClr val="048DB8"/>
          </a:solidFill>
        </a:ln>
      </dgm:spPr>
    </dgm:pt>
    <dgm:pt modelId="{383F4D6C-06FD-4B01-8F3D-F85295A9573D}" type="pres">
      <dgm:prSet presAssocID="{C3916520-1B0F-42B5-B3C1-4D01123F36A0}" presName="text3" presStyleLbl="revTx" presStyleIdx="8" presStyleCnt="15">
        <dgm:presLayoutVars>
          <dgm:chPref val="3"/>
        </dgm:presLayoutVars>
      </dgm:prSet>
      <dgm:spPr/>
    </dgm:pt>
    <dgm:pt modelId="{6D1FCA77-A09E-4A1D-A6B5-87F8169EDB6F}" type="pres">
      <dgm:prSet presAssocID="{C3916520-1B0F-42B5-B3C1-4D01123F36A0}" presName="hierChild4" presStyleCnt="0"/>
      <dgm:spPr/>
    </dgm:pt>
    <dgm:pt modelId="{663AA27F-1B9B-4F37-B994-6C565866B569}" type="pres">
      <dgm:prSet presAssocID="{D763F2D7-C897-46BD-972E-21CD93FBE2FE}" presName="Name17" presStyleLbl="parChTrans1D3" presStyleIdx="4" presStyleCnt="7"/>
      <dgm:spPr/>
    </dgm:pt>
    <dgm:pt modelId="{300FC761-A72B-42F3-B0C1-995888DC2105}" type="pres">
      <dgm:prSet presAssocID="{D6F1F1EB-F41B-4A4A-A9AA-FC85D0C06FBA}" presName="hierRoot3" presStyleCnt="0"/>
      <dgm:spPr/>
    </dgm:pt>
    <dgm:pt modelId="{A2C5F8B4-5402-4280-AA73-017229CC96C6}" type="pres">
      <dgm:prSet presAssocID="{D6F1F1EB-F41B-4A4A-A9AA-FC85D0C06FBA}" presName="composite3" presStyleCnt="0"/>
      <dgm:spPr/>
    </dgm:pt>
    <dgm:pt modelId="{874402B0-94B3-4065-8308-A5470222B684}" type="pres">
      <dgm:prSet presAssocID="{D6F1F1EB-F41B-4A4A-A9AA-FC85D0C06FBA}" presName="image3" presStyleLbl="node3" presStyleIdx="4" presStyleCnt="7" custLinFactY="100000" custLinFactNeighborX="68147" custLinFactNeighborY="102469"/>
      <dgm:spPr>
        <a:solidFill>
          <a:srgbClr val="191D34"/>
        </a:solidFill>
        <a:ln>
          <a:solidFill>
            <a:srgbClr val="42B0D2"/>
          </a:solidFill>
        </a:ln>
      </dgm:spPr>
    </dgm:pt>
    <dgm:pt modelId="{C564E1DD-8598-4FA2-8AC3-FB9970112159}" type="pres">
      <dgm:prSet presAssocID="{D6F1F1EB-F41B-4A4A-A9AA-FC85D0C06FBA}" presName="text3" presStyleLbl="revTx" presStyleIdx="9" presStyleCnt="15">
        <dgm:presLayoutVars>
          <dgm:chPref val="3"/>
        </dgm:presLayoutVars>
      </dgm:prSet>
      <dgm:spPr/>
    </dgm:pt>
    <dgm:pt modelId="{50D0BECF-A461-4D60-BDC9-588552738FED}" type="pres">
      <dgm:prSet presAssocID="{D6F1F1EB-F41B-4A4A-A9AA-FC85D0C06FBA}" presName="hierChild4" presStyleCnt="0"/>
      <dgm:spPr/>
    </dgm:pt>
    <dgm:pt modelId="{049D6D89-22CD-4859-B1DA-4B967962C835}" type="pres">
      <dgm:prSet presAssocID="{60329709-6B84-4371-B259-529433872597}" presName="Name10" presStyleLbl="parChTrans1D2" presStyleIdx="3" presStyleCnt="4"/>
      <dgm:spPr/>
    </dgm:pt>
    <dgm:pt modelId="{DCD7DA4D-9B50-4277-AEFA-D8D1E57F86BB}" type="pres">
      <dgm:prSet presAssocID="{71F80A6A-6EF9-4224-8AB5-A10B9B6DB8A6}" presName="hierRoot2" presStyleCnt="0"/>
      <dgm:spPr/>
    </dgm:pt>
    <dgm:pt modelId="{5BCE3406-4095-45CA-9B19-32359DE9A1C7}" type="pres">
      <dgm:prSet presAssocID="{71F80A6A-6EF9-4224-8AB5-A10B9B6DB8A6}" presName="composite2" presStyleCnt="0"/>
      <dgm:spPr/>
    </dgm:pt>
    <dgm:pt modelId="{96754964-2F62-4DB9-9EB1-0CDB9E8A529B}" type="pres">
      <dgm:prSet presAssocID="{71F80A6A-6EF9-4224-8AB5-A10B9B6DB8A6}" presName="image2" presStyleLbl="node2" presStyleIdx="3" presStyleCnt="4" custLinFactY="14349" custLinFactNeighborX="8879" custLinFactNeighborY="100000"/>
      <dgm:spPr>
        <a:solidFill>
          <a:srgbClr val="C00000"/>
        </a:solidFill>
        <a:ln>
          <a:solidFill>
            <a:srgbClr val="212745"/>
          </a:solidFill>
        </a:ln>
      </dgm:spPr>
    </dgm:pt>
    <dgm:pt modelId="{443EDE38-C212-4FBA-BEB7-B5D48818C3FC}" type="pres">
      <dgm:prSet presAssocID="{71F80A6A-6EF9-4224-8AB5-A10B9B6DB8A6}" presName="text2" presStyleLbl="revTx" presStyleIdx="10" presStyleCnt="15">
        <dgm:presLayoutVars>
          <dgm:chPref val="3"/>
        </dgm:presLayoutVars>
      </dgm:prSet>
      <dgm:spPr/>
    </dgm:pt>
    <dgm:pt modelId="{A9274047-29E2-455F-858C-4F0609AF2344}" type="pres">
      <dgm:prSet presAssocID="{71F80A6A-6EF9-4224-8AB5-A10B9B6DB8A6}" presName="hierChild3" presStyleCnt="0"/>
      <dgm:spPr/>
    </dgm:pt>
    <dgm:pt modelId="{545251F7-755E-4D69-85AC-512F3A134EE4}" type="pres">
      <dgm:prSet presAssocID="{122528DD-A6A0-41EA-B59C-542E243988B0}" presName="Name17" presStyleLbl="parChTrans1D3" presStyleIdx="5" presStyleCnt="7"/>
      <dgm:spPr/>
    </dgm:pt>
    <dgm:pt modelId="{5C9DB089-B223-4129-AB0C-E3B268AD0DEC}" type="pres">
      <dgm:prSet presAssocID="{A814BCD6-9ED4-4616-867C-32E61D9824F7}" presName="hierRoot3" presStyleCnt="0"/>
      <dgm:spPr/>
    </dgm:pt>
    <dgm:pt modelId="{7E08028F-5973-4911-A7AF-73C913CF57E2}" type="pres">
      <dgm:prSet presAssocID="{A814BCD6-9ED4-4616-867C-32E61D9824F7}" presName="composite3" presStyleCnt="0"/>
      <dgm:spPr/>
    </dgm:pt>
    <dgm:pt modelId="{AD75A403-E368-433A-9486-10D865EDEFE4}" type="pres">
      <dgm:prSet presAssocID="{A814BCD6-9ED4-4616-867C-32E61D9824F7}" presName="image3" presStyleLbl="node3" presStyleIdx="5" presStyleCnt="7" custLinFactY="100000" custLinFactNeighborX="852" custLinFactNeighborY="101997"/>
      <dgm:spPr>
        <a:solidFill>
          <a:srgbClr val="C00000"/>
        </a:solidFill>
        <a:ln>
          <a:solidFill>
            <a:schemeClr val="tx2"/>
          </a:solidFill>
        </a:ln>
      </dgm:spPr>
    </dgm:pt>
    <dgm:pt modelId="{B8CFDDD5-DF30-4E56-B3C4-E86E7F5F3908}" type="pres">
      <dgm:prSet presAssocID="{A814BCD6-9ED4-4616-867C-32E61D9824F7}" presName="text3" presStyleLbl="revTx" presStyleIdx="11" presStyleCnt="15">
        <dgm:presLayoutVars>
          <dgm:chPref val="3"/>
        </dgm:presLayoutVars>
      </dgm:prSet>
      <dgm:spPr/>
    </dgm:pt>
    <dgm:pt modelId="{9FD1E413-93C0-44AF-9C4F-F5A297A91B48}" type="pres">
      <dgm:prSet presAssocID="{A814BCD6-9ED4-4616-867C-32E61D9824F7}" presName="hierChild4" presStyleCnt="0"/>
      <dgm:spPr/>
    </dgm:pt>
    <dgm:pt modelId="{13339BAD-5D6E-4950-8F70-996CFBB95628}" type="pres">
      <dgm:prSet presAssocID="{E09AE2A3-AA5F-4C59-9305-200D3CC3E8F7}" presName="Name23" presStyleLbl="parChTrans1D4" presStyleIdx="1" presStyleCnt="3"/>
      <dgm:spPr/>
    </dgm:pt>
    <dgm:pt modelId="{CF9F6EF0-E401-4FC7-B405-26B2D22073B8}" type="pres">
      <dgm:prSet presAssocID="{15AE5FDA-F5F9-49B2-B558-E0DAC6B9181C}" presName="hierRoot4" presStyleCnt="0"/>
      <dgm:spPr/>
    </dgm:pt>
    <dgm:pt modelId="{232191C0-06A7-4DC8-882E-12DEBBB5F694}" type="pres">
      <dgm:prSet presAssocID="{15AE5FDA-F5F9-49B2-B558-E0DAC6B9181C}" presName="composite4" presStyleCnt="0"/>
      <dgm:spPr/>
    </dgm:pt>
    <dgm:pt modelId="{3C9360C0-8178-4641-B423-265F61D6A8AD}" type="pres">
      <dgm:prSet presAssocID="{15AE5FDA-F5F9-49B2-B558-E0DAC6B9181C}" presName="image4" presStyleLbl="node4" presStyleIdx="1" presStyleCnt="3" custLinFactY="200000" custLinFactNeighborX="-5969" custLinFactNeighborY="225201"/>
      <dgm:spPr>
        <a:solidFill>
          <a:srgbClr val="191D34"/>
        </a:solidFill>
        <a:ln>
          <a:solidFill>
            <a:srgbClr val="42B0D2"/>
          </a:solidFill>
        </a:ln>
      </dgm:spPr>
    </dgm:pt>
    <dgm:pt modelId="{6DF8765B-E162-4CA1-85C6-2C8C7C62FCC5}" type="pres">
      <dgm:prSet presAssocID="{15AE5FDA-F5F9-49B2-B558-E0DAC6B9181C}" presName="text4" presStyleLbl="revTx" presStyleIdx="12" presStyleCnt="15">
        <dgm:presLayoutVars>
          <dgm:chPref val="3"/>
        </dgm:presLayoutVars>
      </dgm:prSet>
      <dgm:spPr/>
    </dgm:pt>
    <dgm:pt modelId="{2704C996-845F-42B8-9309-3FD7605186A1}" type="pres">
      <dgm:prSet presAssocID="{15AE5FDA-F5F9-49B2-B558-E0DAC6B9181C}" presName="hierChild5" presStyleCnt="0"/>
      <dgm:spPr/>
    </dgm:pt>
    <dgm:pt modelId="{76CB2C8F-25EF-459F-963D-BD5A89A168B9}" type="pres">
      <dgm:prSet presAssocID="{DC5B118C-39C7-4089-9353-0C456C9225CB}" presName="Name23" presStyleLbl="parChTrans1D4" presStyleIdx="2" presStyleCnt="3"/>
      <dgm:spPr/>
    </dgm:pt>
    <dgm:pt modelId="{79DBEE2A-A01C-46C0-ADAE-1A68B2EEE8C4}" type="pres">
      <dgm:prSet presAssocID="{9524C1B5-D60A-4114-BCEF-EF6C23E80F14}" presName="hierRoot4" presStyleCnt="0"/>
      <dgm:spPr/>
    </dgm:pt>
    <dgm:pt modelId="{A5187E01-1FE6-4A4E-B185-DEB171293CF1}" type="pres">
      <dgm:prSet presAssocID="{9524C1B5-D60A-4114-BCEF-EF6C23E80F14}" presName="composite4" presStyleCnt="0"/>
      <dgm:spPr/>
    </dgm:pt>
    <dgm:pt modelId="{2578853F-CA79-41F2-A8A9-E9015C4CDE74}" type="pres">
      <dgm:prSet presAssocID="{9524C1B5-D60A-4114-BCEF-EF6C23E80F14}" presName="image4" presStyleLbl="node4" presStyleIdx="2" presStyleCnt="3" custLinFactY="200000" custLinFactNeighborX="-13903" custLinFactNeighborY="225201"/>
      <dgm:spPr>
        <a:solidFill>
          <a:srgbClr val="C00000"/>
        </a:solidFill>
        <a:ln>
          <a:solidFill>
            <a:schemeClr val="tx2"/>
          </a:solidFill>
        </a:ln>
      </dgm:spPr>
    </dgm:pt>
    <dgm:pt modelId="{4BBCB797-AC0C-4CAF-A878-CBD478F1415E}" type="pres">
      <dgm:prSet presAssocID="{9524C1B5-D60A-4114-BCEF-EF6C23E80F14}" presName="text4" presStyleLbl="revTx" presStyleIdx="13" presStyleCnt="15">
        <dgm:presLayoutVars>
          <dgm:chPref val="3"/>
        </dgm:presLayoutVars>
      </dgm:prSet>
      <dgm:spPr/>
    </dgm:pt>
    <dgm:pt modelId="{1D176D2B-D67B-464E-9C81-FE8AADDDD607}" type="pres">
      <dgm:prSet presAssocID="{9524C1B5-D60A-4114-BCEF-EF6C23E80F14}" presName="hierChild5" presStyleCnt="0"/>
      <dgm:spPr/>
    </dgm:pt>
    <dgm:pt modelId="{743A8AC1-0F57-405A-87FD-29A91A5AA3F6}" type="pres">
      <dgm:prSet presAssocID="{E62B5D7F-E438-4402-8CC1-467749FB79C3}" presName="Name17" presStyleLbl="parChTrans1D3" presStyleIdx="6" presStyleCnt="7"/>
      <dgm:spPr/>
    </dgm:pt>
    <dgm:pt modelId="{5BC5FB87-341A-458F-B8D9-4720732229A7}" type="pres">
      <dgm:prSet presAssocID="{7BCF893F-0160-496B-B50D-E7BC3A842A86}" presName="hierRoot3" presStyleCnt="0"/>
      <dgm:spPr/>
    </dgm:pt>
    <dgm:pt modelId="{31E2E2B2-6211-4A9D-B9EB-C127A4C024C8}" type="pres">
      <dgm:prSet presAssocID="{7BCF893F-0160-496B-B50D-E7BC3A842A86}" presName="composite3" presStyleCnt="0"/>
      <dgm:spPr/>
    </dgm:pt>
    <dgm:pt modelId="{D277EFF2-2A12-4953-9C7D-12E06E2C991A}" type="pres">
      <dgm:prSet presAssocID="{7BCF893F-0160-496B-B50D-E7BC3A842A86}" presName="image3" presStyleLbl="node3" presStyleIdx="6" presStyleCnt="7" custLinFactY="100000" custLinFactNeighborX="20778" custLinFactNeighborY="102469"/>
      <dgm:spPr>
        <a:solidFill>
          <a:srgbClr val="191D34"/>
        </a:solidFill>
        <a:ln>
          <a:solidFill>
            <a:srgbClr val="42B0D2"/>
          </a:solidFill>
        </a:ln>
      </dgm:spPr>
    </dgm:pt>
    <dgm:pt modelId="{1F3CC4D2-9C97-4FB1-8BCA-F2FE537709ED}" type="pres">
      <dgm:prSet presAssocID="{7BCF893F-0160-496B-B50D-E7BC3A842A86}" presName="text3" presStyleLbl="revTx" presStyleIdx="14" presStyleCnt="15">
        <dgm:presLayoutVars>
          <dgm:chPref val="3"/>
        </dgm:presLayoutVars>
      </dgm:prSet>
      <dgm:spPr/>
    </dgm:pt>
    <dgm:pt modelId="{DCD9D387-A6F4-4157-8F51-29DC7EDF52DE}" type="pres">
      <dgm:prSet presAssocID="{7BCF893F-0160-496B-B50D-E7BC3A842A86}" presName="hierChild4" presStyleCnt="0"/>
      <dgm:spPr/>
    </dgm:pt>
  </dgm:ptLst>
  <dgm:cxnLst>
    <dgm:cxn modelId="{8221D601-B169-45CA-83CB-BFE9B8B452A3}" type="presOf" srcId="{3D6C250C-B952-43CC-942D-4F065AC4C548}" destId="{8A1715A8-28BD-4D56-B993-A88A1C0EBF67}" srcOrd="0" destOrd="0" presId="urn:microsoft.com/office/officeart/2009/layout/CirclePictureHierarchy"/>
    <dgm:cxn modelId="{A254C405-D1B4-418F-8AED-C4F39EBA6F34}" type="presOf" srcId="{D6F1F1EB-F41B-4A4A-A9AA-FC85D0C06FBA}" destId="{C564E1DD-8598-4FA2-8AC3-FB9970112159}" srcOrd="0" destOrd="0" presId="urn:microsoft.com/office/officeart/2009/layout/CirclePictureHierarchy"/>
    <dgm:cxn modelId="{BDCE420C-C7EC-40C9-8746-007D541F9711}" srcId="{71F80A6A-6EF9-4224-8AB5-A10B9B6DB8A6}" destId="{A814BCD6-9ED4-4616-867C-32E61D9824F7}" srcOrd="0" destOrd="0" parTransId="{122528DD-A6A0-41EA-B59C-542E243988B0}" sibTransId="{AF679BD1-9D26-4C85-ABED-7ED6D13B3FCA}"/>
    <dgm:cxn modelId="{C0E67A0C-95AC-4899-B093-1A707D67B862}" srcId="{92C36531-9868-41EE-A52E-D04F160D60C0}" destId="{D6F1F1EB-F41B-4A4A-A9AA-FC85D0C06FBA}" srcOrd="1" destOrd="0" parTransId="{D763F2D7-C897-46BD-972E-21CD93FBE2FE}" sibTransId="{5A53EEC9-F361-4AB5-8810-80C5FF678D5A}"/>
    <dgm:cxn modelId="{5B60340E-ED67-4AFB-B49D-1465E9699C81}" srcId="{A814BCD6-9ED4-4616-867C-32E61D9824F7}" destId="{9524C1B5-D60A-4114-BCEF-EF6C23E80F14}" srcOrd="1" destOrd="0" parTransId="{DC5B118C-39C7-4089-9353-0C456C9225CB}" sibTransId="{5D4B1CE1-FDF0-43C0-BC16-5548ECEDA6F3}"/>
    <dgm:cxn modelId="{3149D90E-F275-47A7-947A-853ABC65278A}" type="presOf" srcId="{08BC5931-FF59-4924-9314-B86C610D2DAE}" destId="{7E1D6153-EF50-414B-B62D-31BAA28D2F0C}" srcOrd="0" destOrd="0" presId="urn:microsoft.com/office/officeart/2009/layout/CirclePictureHierarchy"/>
    <dgm:cxn modelId="{5C4EF112-8565-4367-8459-04436B032B39}" type="presOf" srcId="{3F44ED43-A3A7-48B0-BFF5-FA0142DD3516}" destId="{3ACD0A78-708B-4E4A-8DC7-A51D2B5103D9}" srcOrd="0" destOrd="0" presId="urn:microsoft.com/office/officeart/2009/layout/CirclePictureHierarchy"/>
    <dgm:cxn modelId="{8FCA7113-D4E9-424E-ACC5-8C6C6434CE5F}" type="presOf" srcId="{15AE5FDA-F5F9-49B2-B558-E0DAC6B9181C}" destId="{6DF8765B-E162-4CA1-85C6-2C8C7C62FCC5}" srcOrd="0" destOrd="0" presId="urn:microsoft.com/office/officeart/2009/layout/CirclePictureHierarchy"/>
    <dgm:cxn modelId="{899E1D1A-05E7-4DC3-8639-0F728CC5646F}" type="presOf" srcId="{8DE165A2-6EAD-4A9A-8335-D08C8B0A5D79}" destId="{A797478F-6FB2-47D6-B9B3-8DCD971E53BD}" srcOrd="0" destOrd="0" presId="urn:microsoft.com/office/officeart/2009/layout/CirclePictureHierarchy"/>
    <dgm:cxn modelId="{A66E8F24-A7B7-40FC-868C-A5C3E4A46B24}" type="presOf" srcId="{122528DD-A6A0-41EA-B59C-542E243988B0}" destId="{545251F7-755E-4D69-85AC-512F3A134EE4}" srcOrd="0" destOrd="0" presId="urn:microsoft.com/office/officeart/2009/layout/CirclePictureHierarchy"/>
    <dgm:cxn modelId="{593B6325-6F0A-4942-80A2-8B614A64353D}" srcId="{7DE44CF6-8655-40FC-ABD3-2C612F4B3920}" destId="{63B7773B-FB81-47CA-AD23-665D4B019FEF}" srcOrd="0" destOrd="0" parTransId="{8DE165A2-6EAD-4A9A-8335-D08C8B0A5D79}" sibTransId="{6C7A0757-4956-464B-8197-ED443C2C5015}"/>
    <dgm:cxn modelId="{181B1432-B85B-4BAD-AD49-645E948CAB10}" type="presOf" srcId="{D039FE45-A378-4B7B-B7E8-C4B541FD820A}" destId="{7CE25267-C792-4756-8FC1-A6BE08FB4DA9}" srcOrd="0" destOrd="0" presId="urn:microsoft.com/office/officeart/2009/layout/CirclePictureHierarchy"/>
    <dgm:cxn modelId="{285A2132-7F5E-494B-B7F3-FF330DDB7398}" type="presOf" srcId="{628FA902-2207-4879-853D-8BCDDA5C5D7B}" destId="{46B3EF1E-FB41-4184-8548-6D7621D2A272}" srcOrd="0" destOrd="0" presId="urn:microsoft.com/office/officeart/2009/layout/CirclePictureHierarchy"/>
    <dgm:cxn modelId="{A137433B-4FD6-420C-9900-76E52F423E86}" srcId="{A814BCD6-9ED4-4616-867C-32E61D9824F7}" destId="{15AE5FDA-F5F9-49B2-B558-E0DAC6B9181C}" srcOrd="0" destOrd="0" parTransId="{E09AE2A3-AA5F-4C59-9305-200D3CC3E8F7}" sibTransId="{23FE9B5D-54F5-494E-A14B-7445D36A572E}"/>
    <dgm:cxn modelId="{393EF647-97D1-4891-B287-6B825EDF6B43}" type="presOf" srcId="{5ADB7DD9-9DB1-45ED-B5FC-48C4EADCA9F5}" destId="{80A5B0A2-BF5E-4543-8028-EF35ED05C0F2}" srcOrd="0" destOrd="0" presId="urn:microsoft.com/office/officeart/2009/layout/CirclePictureHierarchy"/>
    <dgm:cxn modelId="{0529156C-63DB-42CA-A6FE-F8D1383FA5E2}" type="presOf" srcId="{7BCF893F-0160-496B-B50D-E7BC3A842A86}" destId="{1F3CC4D2-9C97-4FB1-8BCA-F2FE537709ED}" srcOrd="0" destOrd="0" presId="urn:microsoft.com/office/officeart/2009/layout/CirclePictureHierarchy"/>
    <dgm:cxn modelId="{41D6F86D-B5F5-4C13-83AA-21C9DF4F4E53}" type="presOf" srcId="{001EE70A-F0EB-4BE5-812C-73B74ED86679}" destId="{69C8BA1B-1622-4C20-93EE-E0DD7015F347}" srcOrd="0" destOrd="0" presId="urn:microsoft.com/office/officeart/2009/layout/CirclePictureHierarchy"/>
    <dgm:cxn modelId="{F4658C70-2DC5-400F-BD92-FA2E507AB4D8}" type="presOf" srcId="{66B6B620-C181-4A6E-A12F-D31D5E74FB27}" destId="{93FB561B-289A-44F1-84FB-CF027A5E8C38}" srcOrd="0" destOrd="0" presId="urn:microsoft.com/office/officeart/2009/layout/CirclePictureHierarchy"/>
    <dgm:cxn modelId="{D92BA470-6F65-4CB9-B6D1-1A5BE81485C8}" type="presOf" srcId="{DC5B118C-39C7-4089-9353-0C456C9225CB}" destId="{76CB2C8F-25EF-459F-963D-BD5A89A168B9}" srcOrd="0" destOrd="0" presId="urn:microsoft.com/office/officeart/2009/layout/CirclePictureHierarchy"/>
    <dgm:cxn modelId="{BA846874-349B-486D-B999-CBCA30C3BAC3}" srcId="{3F44ED43-A3A7-48B0-BFF5-FA0142DD3516}" destId="{8FAFA645-96C0-41B2-A225-E78CCE1D6784}" srcOrd="2" destOrd="0" parTransId="{2AB0B82F-AEDD-42D6-A609-1CFB8E8D0352}" sibTransId="{B62C9627-072F-4D5E-9D24-E2E979E7AF22}"/>
    <dgm:cxn modelId="{27B76A77-823B-4E72-A538-F1B607C073F5}" type="presOf" srcId="{60329709-6B84-4371-B259-529433872597}" destId="{049D6D89-22CD-4859-B1DA-4B967962C835}" srcOrd="0" destOrd="0" presId="urn:microsoft.com/office/officeart/2009/layout/CirclePictureHierarchy"/>
    <dgm:cxn modelId="{EE99E878-5C4A-4EC4-AE76-02925038395C}" srcId="{8FAFA645-96C0-41B2-A225-E78CCE1D6784}" destId="{8605DFD3-F454-4068-97F5-360470ACCF0B}" srcOrd="0" destOrd="0" parTransId="{001EE70A-F0EB-4BE5-812C-73B74ED86679}" sibTransId="{4866355D-ADF6-4CFB-8D9C-665237177B44}"/>
    <dgm:cxn modelId="{87CC7F87-E876-4E6D-9269-6C70325A12DD}" type="presOf" srcId="{8605DFD3-F454-4068-97F5-360470ACCF0B}" destId="{50994E10-5596-4C97-8F3D-BA3188C6757E}" srcOrd="0" destOrd="0" presId="urn:microsoft.com/office/officeart/2009/layout/CirclePictureHierarchy"/>
    <dgm:cxn modelId="{B666D08C-64AA-43A8-ADDB-E506E74812CA}" srcId="{3F44ED43-A3A7-48B0-BFF5-FA0142DD3516}" destId="{66B6B620-C181-4A6E-A12F-D31D5E74FB27}" srcOrd="1" destOrd="0" parTransId="{628FA902-2207-4879-853D-8BCDDA5C5D7B}" sibTransId="{335EA962-8334-413B-A4A4-6121A405D7F0}"/>
    <dgm:cxn modelId="{7780F48F-57A8-46CA-A553-BDD45E4C3490}" type="presOf" srcId="{9524C1B5-D60A-4114-BCEF-EF6C23E80F14}" destId="{4BBCB797-AC0C-4CAF-A878-CBD478F1415E}" srcOrd="0" destOrd="0" presId="urn:microsoft.com/office/officeart/2009/layout/CirclePictureHierarchy"/>
    <dgm:cxn modelId="{E2F42D90-5C03-4A9C-9B9B-7B4A264915D7}" type="presOf" srcId="{8FAFA645-96C0-41B2-A225-E78CCE1D6784}" destId="{4C147088-54FC-42BA-9BA1-D6CB608DA59E}" srcOrd="0" destOrd="0" presId="urn:microsoft.com/office/officeart/2009/layout/CirclePictureHierarchy"/>
    <dgm:cxn modelId="{3D6C4A90-DA79-4BD9-BF1E-9E3FD728B383}" srcId="{92C36531-9868-41EE-A52E-D04F160D60C0}" destId="{C3916520-1B0F-42B5-B3C1-4D01123F36A0}" srcOrd="0" destOrd="0" parTransId="{08BC5931-FF59-4924-9314-B86C610D2DAE}" sibTransId="{C1026151-A85C-4828-9DF4-11013D24BA6E}"/>
    <dgm:cxn modelId="{F67B4092-6510-4291-B8D6-361987A2BCE3}" type="presOf" srcId="{1C9C1947-C91E-46B8-9886-0B72E796BA89}" destId="{788E5C33-C5B4-4AD1-AF35-3C09C1B7CD84}" srcOrd="0" destOrd="0" presId="urn:microsoft.com/office/officeart/2009/layout/CirclePictureHierarchy"/>
    <dgm:cxn modelId="{28EC3996-0924-4DEE-8845-3982FBA17F5B}" type="presOf" srcId="{2AB0B82F-AEDD-42D6-A609-1CFB8E8D0352}" destId="{6471ED6C-96E8-4A08-A99C-5AF4EA7F39AE}" srcOrd="0" destOrd="0" presId="urn:microsoft.com/office/officeart/2009/layout/CirclePictureHierarchy"/>
    <dgm:cxn modelId="{04473AA3-97CB-40B6-999E-31C26A4853B0}" type="presOf" srcId="{E62B5D7F-E438-4402-8CC1-467749FB79C3}" destId="{743A8AC1-0F57-405A-87FD-29A91A5AA3F6}" srcOrd="0" destOrd="0" presId="urn:microsoft.com/office/officeart/2009/layout/CirclePictureHierarchy"/>
    <dgm:cxn modelId="{04331CA7-D47D-4D69-9D50-693773B5429C}" srcId="{DEFFC888-ED81-4B00-8728-1D33C5115844}" destId="{7DE44CF6-8655-40FC-ABD3-2C612F4B3920}" srcOrd="0" destOrd="0" parTransId="{9F6981D0-298A-4D6B-A07B-0E00CACCCE8E}" sibTransId="{293246D7-0739-477D-8E0F-D1A496762FEB}"/>
    <dgm:cxn modelId="{E68227B2-6021-467E-AE1A-9C70D44DED0A}" type="presOf" srcId="{7DE44CF6-8655-40FC-ABD3-2C612F4B3920}" destId="{4E588701-8098-4E6B-85E2-9DBE2E7E6DD4}" srcOrd="0" destOrd="0" presId="urn:microsoft.com/office/officeart/2009/layout/CirclePictureHierarchy"/>
    <dgm:cxn modelId="{4EE4F4B2-FC2F-484B-AAF6-1A22394331AD}" srcId="{7DE44CF6-8655-40FC-ABD3-2C612F4B3920}" destId="{71F80A6A-6EF9-4224-8AB5-A10B9B6DB8A6}" srcOrd="3" destOrd="0" parTransId="{60329709-6B84-4371-B259-529433872597}" sibTransId="{5C718469-E50B-40F3-87F5-6A9E15E7ACC1}"/>
    <dgm:cxn modelId="{4FE09BBA-777D-468F-B14E-84EC0BEED74D}" type="presOf" srcId="{E09AE2A3-AA5F-4C59-9305-200D3CC3E8F7}" destId="{13339BAD-5D6E-4950-8F70-996CFBB95628}" srcOrd="0" destOrd="0" presId="urn:microsoft.com/office/officeart/2009/layout/CirclePictureHierarchy"/>
    <dgm:cxn modelId="{3560B9BA-75B7-4843-B99E-0AD9B05C38A0}" type="presOf" srcId="{DEFFC888-ED81-4B00-8728-1D33C5115844}" destId="{FFCB839C-4353-4CCC-858C-77769C471186}" srcOrd="0" destOrd="0" presId="urn:microsoft.com/office/officeart/2009/layout/CirclePictureHierarchy"/>
    <dgm:cxn modelId="{54A01AD9-C85C-41DF-931F-D90478039D62}" srcId="{7DE44CF6-8655-40FC-ABD3-2C612F4B3920}" destId="{92C36531-9868-41EE-A52E-D04F160D60C0}" srcOrd="2" destOrd="0" parTransId="{5ADB7DD9-9DB1-45ED-B5FC-48C4EADCA9F5}" sibTransId="{E7FBBB13-374D-4BAE-8E76-21A930AF4D8F}"/>
    <dgm:cxn modelId="{8384BCDA-B177-4D4D-AA66-B0E7466ACB1D}" type="presOf" srcId="{C3916520-1B0F-42B5-B3C1-4D01123F36A0}" destId="{383F4D6C-06FD-4B01-8F3D-F85295A9573D}" srcOrd="0" destOrd="0" presId="urn:microsoft.com/office/officeart/2009/layout/CirclePictureHierarchy"/>
    <dgm:cxn modelId="{DE5431DF-8058-48ED-852A-44D0B762B242}" type="presOf" srcId="{71F80A6A-6EF9-4224-8AB5-A10B9B6DB8A6}" destId="{443EDE38-C212-4FBA-BEB7-B5D48818C3FC}" srcOrd="0" destOrd="0" presId="urn:microsoft.com/office/officeart/2009/layout/CirclePictureHierarchy"/>
    <dgm:cxn modelId="{08BCBFE0-6F5D-4876-9454-3004ABB7DA4A}" type="presOf" srcId="{A814BCD6-9ED4-4616-867C-32E61D9824F7}" destId="{B8CFDDD5-DF30-4E56-B3C4-E86E7F5F3908}" srcOrd="0" destOrd="0" presId="urn:microsoft.com/office/officeart/2009/layout/CirclePictureHierarchy"/>
    <dgm:cxn modelId="{0DB42DE2-3855-4D3B-93CE-EB68D4FDF875}" srcId="{7DE44CF6-8655-40FC-ABD3-2C612F4B3920}" destId="{3F44ED43-A3A7-48B0-BFF5-FA0142DD3516}" srcOrd="1" destOrd="0" parTransId="{1C9C1947-C91E-46B8-9886-0B72E796BA89}" sibTransId="{D794CC38-5319-4C83-981B-9C051E90D56C}"/>
    <dgm:cxn modelId="{185C6DE2-7AD3-4B18-9D82-B4CB55D3A0D2}" srcId="{71F80A6A-6EF9-4224-8AB5-A10B9B6DB8A6}" destId="{7BCF893F-0160-496B-B50D-E7BC3A842A86}" srcOrd="1" destOrd="0" parTransId="{E62B5D7F-E438-4402-8CC1-467749FB79C3}" sibTransId="{CBED704C-F96B-4A39-8430-8EA98263D894}"/>
    <dgm:cxn modelId="{06B900E5-D374-486A-9995-D033BA7749B8}" type="presOf" srcId="{63B7773B-FB81-47CA-AD23-665D4B019FEF}" destId="{BD1BEFA9-7A98-4DD7-9F84-E21EF8F9664C}" srcOrd="0" destOrd="0" presId="urn:microsoft.com/office/officeart/2009/layout/CirclePictureHierarchy"/>
    <dgm:cxn modelId="{05AF96E5-C047-422C-8DB5-E916DAE16831}" type="presOf" srcId="{D763F2D7-C897-46BD-972E-21CD93FBE2FE}" destId="{663AA27F-1B9B-4F37-B994-6C565866B569}" srcOrd="0" destOrd="0" presId="urn:microsoft.com/office/officeart/2009/layout/CirclePictureHierarchy"/>
    <dgm:cxn modelId="{137254F3-649D-43B7-B2C3-9682E304526F}" srcId="{3F44ED43-A3A7-48B0-BFF5-FA0142DD3516}" destId="{3D6C250C-B952-43CC-942D-4F065AC4C548}" srcOrd="0" destOrd="0" parTransId="{D039FE45-A378-4B7B-B7E8-C4B541FD820A}" sibTransId="{CA0CBB74-5632-427B-838E-7FE48E7ECF37}"/>
    <dgm:cxn modelId="{DC5C86F3-ED71-48DA-B59D-C8E928E15A82}" type="presOf" srcId="{92C36531-9868-41EE-A52E-D04F160D60C0}" destId="{5A6EA69B-776E-438C-B810-A2FB017EC415}" srcOrd="0" destOrd="0" presId="urn:microsoft.com/office/officeart/2009/layout/CirclePictureHierarchy"/>
    <dgm:cxn modelId="{E4BED1E7-D4AD-4C42-920E-9E1C5374D993}" type="presParOf" srcId="{FFCB839C-4353-4CCC-858C-77769C471186}" destId="{18963FEA-77B9-48EA-9DA5-715290394607}" srcOrd="0" destOrd="0" presId="urn:microsoft.com/office/officeart/2009/layout/CirclePictureHierarchy"/>
    <dgm:cxn modelId="{CCA02DFE-B1CB-44C8-AB08-5181AE7CAC80}" type="presParOf" srcId="{18963FEA-77B9-48EA-9DA5-715290394607}" destId="{F891D7DC-7174-4CF2-A960-717C14A8A0BA}" srcOrd="0" destOrd="0" presId="urn:microsoft.com/office/officeart/2009/layout/CirclePictureHierarchy"/>
    <dgm:cxn modelId="{E3E984C6-ADC8-4EFC-8491-5EB1DCFEA6A3}" type="presParOf" srcId="{F891D7DC-7174-4CF2-A960-717C14A8A0BA}" destId="{BBBED0FB-FA92-4246-9D11-5FF45C266D25}" srcOrd="0" destOrd="0" presId="urn:microsoft.com/office/officeart/2009/layout/CirclePictureHierarchy"/>
    <dgm:cxn modelId="{31B636F4-E49D-40F2-935A-66C76FA90F77}" type="presParOf" srcId="{F891D7DC-7174-4CF2-A960-717C14A8A0BA}" destId="{4E588701-8098-4E6B-85E2-9DBE2E7E6DD4}" srcOrd="1" destOrd="0" presId="urn:microsoft.com/office/officeart/2009/layout/CirclePictureHierarchy"/>
    <dgm:cxn modelId="{EEC10567-81F1-4950-9EF3-E59AE36A2FB4}" type="presParOf" srcId="{18963FEA-77B9-48EA-9DA5-715290394607}" destId="{17EF51C8-79C7-461D-8B2A-EB23EF13D828}" srcOrd="1" destOrd="0" presId="urn:microsoft.com/office/officeart/2009/layout/CirclePictureHierarchy"/>
    <dgm:cxn modelId="{DD98AB6C-18E5-4F33-9C6C-B3048EFABB4A}" type="presParOf" srcId="{17EF51C8-79C7-461D-8B2A-EB23EF13D828}" destId="{A797478F-6FB2-47D6-B9B3-8DCD971E53BD}" srcOrd="0" destOrd="0" presId="urn:microsoft.com/office/officeart/2009/layout/CirclePictureHierarchy"/>
    <dgm:cxn modelId="{958276CB-A50D-4348-9B6E-13E00950F959}" type="presParOf" srcId="{17EF51C8-79C7-461D-8B2A-EB23EF13D828}" destId="{77ECF703-A61A-41D5-8ED0-D094BE2CCA32}" srcOrd="1" destOrd="0" presId="urn:microsoft.com/office/officeart/2009/layout/CirclePictureHierarchy"/>
    <dgm:cxn modelId="{D4C45913-C108-436F-8C59-FE91C0DB3517}" type="presParOf" srcId="{77ECF703-A61A-41D5-8ED0-D094BE2CCA32}" destId="{4AC58200-01DD-44A5-A61B-6B00BA804833}" srcOrd="0" destOrd="0" presId="urn:microsoft.com/office/officeart/2009/layout/CirclePictureHierarchy"/>
    <dgm:cxn modelId="{E27947E2-4EAD-4B66-82E6-F15A04DB45E9}" type="presParOf" srcId="{4AC58200-01DD-44A5-A61B-6B00BA804833}" destId="{D4E0EC67-4640-47B2-AA29-C3A1124B4314}" srcOrd="0" destOrd="0" presId="urn:microsoft.com/office/officeart/2009/layout/CirclePictureHierarchy"/>
    <dgm:cxn modelId="{69EC47D2-A564-4E9F-A6AF-6ABA88B23A2C}" type="presParOf" srcId="{4AC58200-01DD-44A5-A61B-6B00BA804833}" destId="{BD1BEFA9-7A98-4DD7-9F84-E21EF8F9664C}" srcOrd="1" destOrd="0" presId="urn:microsoft.com/office/officeart/2009/layout/CirclePictureHierarchy"/>
    <dgm:cxn modelId="{56C0E900-1AAB-4D50-BD3A-DA083399A884}" type="presParOf" srcId="{77ECF703-A61A-41D5-8ED0-D094BE2CCA32}" destId="{0B795DDD-1C80-4FD7-B54D-5C2989ECEDEE}" srcOrd="1" destOrd="0" presId="urn:microsoft.com/office/officeart/2009/layout/CirclePictureHierarchy"/>
    <dgm:cxn modelId="{10ED7E2D-A667-40DE-BC95-140E49374166}" type="presParOf" srcId="{17EF51C8-79C7-461D-8B2A-EB23EF13D828}" destId="{788E5C33-C5B4-4AD1-AF35-3C09C1B7CD84}" srcOrd="2" destOrd="0" presId="urn:microsoft.com/office/officeart/2009/layout/CirclePictureHierarchy"/>
    <dgm:cxn modelId="{FDA1CAB3-68FA-4FAE-B828-D811D382087F}" type="presParOf" srcId="{17EF51C8-79C7-461D-8B2A-EB23EF13D828}" destId="{FAA47EF6-C64F-4367-B8E1-8004B88457E9}" srcOrd="3" destOrd="0" presId="urn:microsoft.com/office/officeart/2009/layout/CirclePictureHierarchy"/>
    <dgm:cxn modelId="{02F9951E-3421-4E0C-8654-54915ADB2933}" type="presParOf" srcId="{FAA47EF6-C64F-4367-B8E1-8004B88457E9}" destId="{451EC58B-DCD7-47B2-9B7E-315B9A533A6A}" srcOrd="0" destOrd="0" presId="urn:microsoft.com/office/officeart/2009/layout/CirclePictureHierarchy"/>
    <dgm:cxn modelId="{2E1CC6BE-20A1-4C6E-B044-A2B025DBB630}" type="presParOf" srcId="{451EC58B-DCD7-47B2-9B7E-315B9A533A6A}" destId="{2686FFD5-6895-4633-BE55-E22AC4B06A06}" srcOrd="0" destOrd="0" presId="urn:microsoft.com/office/officeart/2009/layout/CirclePictureHierarchy"/>
    <dgm:cxn modelId="{BEEA2137-1B6B-4079-A2BF-000455635AA7}" type="presParOf" srcId="{451EC58B-DCD7-47B2-9B7E-315B9A533A6A}" destId="{3ACD0A78-708B-4E4A-8DC7-A51D2B5103D9}" srcOrd="1" destOrd="0" presId="urn:microsoft.com/office/officeart/2009/layout/CirclePictureHierarchy"/>
    <dgm:cxn modelId="{1BE9ED5B-A0F9-445E-9F0F-9ED382C873A1}" type="presParOf" srcId="{FAA47EF6-C64F-4367-B8E1-8004B88457E9}" destId="{E3980128-8897-4BCB-9122-23B3393CCF95}" srcOrd="1" destOrd="0" presId="urn:microsoft.com/office/officeart/2009/layout/CirclePictureHierarchy"/>
    <dgm:cxn modelId="{7DAE5FEE-2EF5-4792-BFF4-0AFE9759DFC1}" type="presParOf" srcId="{E3980128-8897-4BCB-9122-23B3393CCF95}" destId="{7CE25267-C792-4756-8FC1-A6BE08FB4DA9}" srcOrd="0" destOrd="0" presId="urn:microsoft.com/office/officeart/2009/layout/CirclePictureHierarchy"/>
    <dgm:cxn modelId="{03A35D37-75C3-4BEF-9C44-82C0A9E85E94}" type="presParOf" srcId="{E3980128-8897-4BCB-9122-23B3393CCF95}" destId="{07596F42-8B99-47CD-8FE0-3D7DA2BA36E9}" srcOrd="1" destOrd="0" presId="urn:microsoft.com/office/officeart/2009/layout/CirclePictureHierarchy"/>
    <dgm:cxn modelId="{3F15CA81-670B-454A-AC0A-950EDBB1D3ED}" type="presParOf" srcId="{07596F42-8B99-47CD-8FE0-3D7DA2BA36E9}" destId="{0A5F0FA1-6F6D-47CD-831D-6EB56F7098FE}" srcOrd="0" destOrd="0" presId="urn:microsoft.com/office/officeart/2009/layout/CirclePictureHierarchy"/>
    <dgm:cxn modelId="{6C8412A4-34E1-40C3-B17B-FCDE2E2E48FF}" type="presParOf" srcId="{0A5F0FA1-6F6D-47CD-831D-6EB56F7098FE}" destId="{834D3748-7A07-4F49-B4FC-E806D1005EA2}" srcOrd="0" destOrd="0" presId="urn:microsoft.com/office/officeart/2009/layout/CirclePictureHierarchy"/>
    <dgm:cxn modelId="{E7F77EEB-E651-48A0-BD8B-36A16A4D74B9}" type="presParOf" srcId="{0A5F0FA1-6F6D-47CD-831D-6EB56F7098FE}" destId="{8A1715A8-28BD-4D56-B993-A88A1C0EBF67}" srcOrd="1" destOrd="0" presId="urn:microsoft.com/office/officeart/2009/layout/CirclePictureHierarchy"/>
    <dgm:cxn modelId="{3AAA3489-3575-4B2F-92D6-9EBCCAB8CA95}" type="presParOf" srcId="{07596F42-8B99-47CD-8FE0-3D7DA2BA36E9}" destId="{7321E29E-4121-4D79-8135-64CAB442DD54}" srcOrd="1" destOrd="0" presId="urn:microsoft.com/office/officeart/2009/layout/CirclePictureHierarchy"/>
    <dgm:cxn modelId="{BF8FBCE8-9E82-4DB4-86A1-9C3EAA55AC3D}" type="presParOf" srcId="{E3980128-8897-4BCB-9122-23B3393CCF95}" destId="{46B3EF1E-FB41-4184-8548-6D7621D2A272}" srcOrd="2" destOrd="0" presId="urn:microsoft.com/office/officeart/2009/layout/CirclePictureHierarchy"/>
    <dgm:cxn modelId="{DB208950-9E53-4F74-8B43-D232ADCD7996}" type="presParOf" srcId="{E3980128-8897-4BCB-9122-23B3393CCF95}" destId="{7888C065-3035-4E04-B82F-482786675DFF}" srcOrd="3" destOrd="0" presId="urn:microsoft.com/office/officeart/2009/layout/CirclePictureHierarchy"/>
    <dgm:cxn modelId="{502084FF-EBC9-4C59-AEB5-1B3F94D7F3F7}" type="presParOf" srcId="{7888C065-3035-4E04-B82F-482786675DFF}" destId="{BAB08AAC-4D73-42EF-BD10-EC51376DC9C0}" srcOrd="0" destOrd="0" presId="urn:microsoft.com/office/officeart/2009/layout/CirclePictureHierarchy"/>
    <dgm:cxn modelId="{D32B31C7-4747-4317-910E-8C5FEF122DE7}" type="presParOf" srcId="{BAB08AAC-4D73-42EF-BD10-EC51376DC9C0}" destId="{57302EFE-A3B5-4AD9-8F18-28337A6CBCFE}" srcOrd="0" destOrd="0" presId="urn:microsoft.com/office/officeart/2009/layout/CirclePictureHierarchy"/>
    <dgm:cxn modelId="{64A62A71-9F68-4B73-9683-0159BC89E83B}" type="presParOf" srcId="{BAB08AAC-4D73-42EF-BD10-EC51376DC9C0}" destId="{93FB561B-289A-44F1-84FB-CF027A5E8C38}" srcOrd="1" destOrd="0" presId="urn:microsoft.com/office/officeart/2009/layout/CirclePictureHierarchy"/>
    <dgm:cxn modelId="{3D08979A-A274-410D-ACC3-AA19EA85F9BE}" type="presParOf" srcId="{7888C065-3035-4E04-B82F-482786675DFF}" destId="{FC3673A1-FE5A-43B7-8E63-A2E56E5F9509}" srcOrd="1" destOrd="0" presId="urn:microsoft.com/office/officeart/2009/layout/CirclePictureHierarchy"/>
    <dgm:cxn modelId="{28BC091A-B191-4CBF-A373-8658B9507A74}" type="presParOf" srcId="{E3980128-8897-4BCB-9122-23B3393CCF95}" destId="{6471ED6C-96E8-4A08-A99C-5AF4EA7F39AE}" srcOrd="4" destOrd="0" presId="urn:microsoft.com/office/officeart/2009/layout/CirclePictureHierarchy"/>
    <dgm:cxn modelId="{835735AA-7D59-4E1B-A882-86C68214FC67}" type="presParOf" srcId="{E3980128-8897-4BCB-9122-23B3393CCF95}" destId="{C3110638-8757-45BC-87CA-AA5929AF34BA}" srcOrd="5" destOrd="0" presId="urn:microsoft.com/office/officeart/2009/layout/CirclePictureHierarchy"/>
    <dgm:cxn modelId="{102EF9E9-11B4-4984-A2AC-1AFE3613E04F}" type="presParOf" srcId="{C3110638-8757-45BC-87CA-AA5929AF34BA}" destId="{74F5041A-80CD-4D70-83C0-EFDDF040154C}" srcOrd="0" destOrd="0" presId="urn:microsoft.com/office/officeart/2009/layout/CirclePictureHierarchy"/>
    <dgm:cxn modelId="{869D4D4E-D361-4285-A2AD-79AF0E60044F}" type="presParOf" srcId="{74F5041A-80CD-4D70-83C0-EFDDF040154C}" destId="{65A67265-51E9-4C1F-A170-D6E910320C63}" srcOrd="0" destOrd="0" presId="urn:microsoft.com/office/officeart/2009/layout/CirclePictureHierarchy"/>
    <dgm:cxn modelId="{32013059-AE0B-4C9B-A6E4-811885B6A6EA}" type="presParOf" srcId="{74F5041A-80CD-4D70-83C0-EFDDF040154C}" destId="{4C147088-54FC-42BA-9BA1-D6CB608DA59E}" srcOrd="1" destOrd="0" presId="urn:microsoft.com/office/officeart/2009/layout/CirclePictureHierarchy"/>
    <dgm:cxn modelId="{A49E3CA4-A289-4CC9-B835-FB8CACFA7CEB}" type="presParOf" srcId="{C3110638-8757-45BC-87CA-AA5929AF34BA}" destId="{5BE9C579-041D-467C-88ED-30338376D366}" srcOrd="1" destOrd="0" presId="urn:microsoft.com/office/officeart/2009/layout/CirclePictureHierarchy"/>
    <dgm:cxn modelId="{230E1012-F99E-4FC2-9F94-5853725E495F}" type="presParOf" srcId="{5BE9C579-041D-467C-88ED-30338376D366}" destId="{69C8BA1B-1622-4C20-93EE-E0DD7015F347}" srcOrd="0" destOrd="0" presId="urn:microsoft.com/office/officeart/2009/layout/CirclePictureHierarchy"/>
    <dgm:cxn modelId="{B1C5EFB9-D05A-4902-86FE-76917249D297}" type="presParOf" srcId="{5BE9C579-041D-467C-88ED-30338376D366}" destId="{7E1584CF-F9BB-44BE-8106-85FB43F810B6}" srcOrd="1" destOrd="0" presId="urn:microsoft.com/office/officeart/2009/layout/CirclePictureHierarchy"/>
    <dgm:cxn modelId="{2D79F4A4-7891-497D-967F-BA64E8B9AF87}" type="presParOf" srcId="{7E1584CF-F9BB-44BE-8106-85FB43F810B6}" destId="{46E4CA99-93E0-4AC7-BF23-98D9CEC9244E}" srcOrd="0" destOrd="0" presId="urn:microsoft.com/office/officeart/2009/layout/CirclePictureHierarchy"/>
    <dgm:cxn modelId="{4DF6C8B5-B260-4EA1-8919-0BB5FD6E7489}" type="presParOf" srcId="{46E4CA99-93E0-4AC7-BF23-98D9CEC9244E}" destId="{0FBBDE83-321D-466B-B2F5-43A62EA212A7}" srcOrd="0" destOrd="0" presId="urn:microsoft.com/office/officeart/2009/layout/CirclePictureHierarchy"/>
    <dgm:cxn modelId="{925AA8FE-AA3C-4524-8F85-F7B651ED366E}" type="presParOf" srcId="{46E4CA99-93E0-4AC7-BF23-98D9CEC9244E}" destId="{50994E10-5596-4C97-8F3D-BA3188C6757E}" srcOrd="1" destOrd="0" presId="urn:microsoft.com/office/officeart/2009/layout/CirclePictureHierarchy"/>
    <dgm:cxn modelId="{75FD51AB-4F04-4195-BEC0-1647DEEEB978}" type="presParOf" srcId="{7E1584CF-F9BB-44BE-8106-85FB43F810B6}" destId="{C23EDF28-9102-499C-B9CF-0AF391F33774}" srcOrd="1" destOrd="0" presId="urn:microsoft.com/office/officeart/2009/layout/CirclePictureHierarchy"/>
    <dgm:cxn modelId="{41CB6980-AB75-42CE-9424-15FD7B295007}" type="presParOf" srcId="{17EF51C8-79C7-461D-8B2A-EB23EF13D828}" destId="{80A5B0A2-BF5E-4543-8028-EF35ED05C0F2}" srcOrd="4" destOrd="0" presId="urn:microsoft.com/office/officeart/2009/layout/CirclePictureHierarchy"/>
    <dgm:cxn modelId="{BCB6B6F6-1194-440B-8623-5300CC0DA623}" type="presParOf" srcId="{17EF51C8-79C7-461D-8B2A-EB23EF13D828}" destId="{15E5190F-FE08-45FB-8BF3-F5EA23175E22}" srcOrd="5" destOrd="0" presId="urn:microsoft.com/office/officeart/2009/layout/CirclePictureHierarchy"/>
    <dgm:cxn modelId="{667F53EB-BBDE-41DF-AEFB-EC52CDC5E067}" type="presParOf" srcId="{15E5190F-FE08-45FB-8BF3-F5EA23175E22}" destId="{985748E1-670E-4FB3-8CF7-8245C2FE38A6}" srcOrd="0" destOrd="0" presId="urn:microsoft.com/office/officeart/2009/layout/CirclePictureHierarchy"/>
    <dgm:cxn modelId="{60E7EDA9-6760-450D-9919-D73BED3CBA25}" type="presParOf" srcId="{985748E1-670E-4FB3-8CF7-8245C2FE38A6}" destId="{7F41D877-1B29-4EA2-B2A7-C6C711F1193B}" srcOrd="0" destOrd="0" presId="urn:microsoft.com/office/officeart/2009/layout/CirclePictureHierarchy"/>
    <dgm:cxn modelId="{A6BE4E8F-D5A0-4DF8-896C-EA49E2C9FBF9}" type="presParOf" srcId="{985748E1-670E-4FB3-8CF7-8245C2FE38A6}" destId="{5A6EA69B-776E-438C-B810-A2FB017EC415}" srcOrd="1" destOrd="0" presId="urn:microsoft.com/office/officeart/2009/layout/CirclePictureHierarchy"/>
    <dgm:cxn modelId="{5175B48E-976E-4900-8BA9-2AB4E6D58E82}" type="presParOf" srcId="{15E5190F-FE08-45FB-8BF3-F5EA23175E22}" destId="{EDC52CF1-B637-4E7E-9935-EF4946A5DF64}" srcOrd="1" destOrd="0" presId="urn:microsoft.com/office/officeart/2009/layout/CirclePictureHierarchy"/>
    <dgm:cxn modelId="{EB499BA0-F003-460D-AB17-9A643EC54FB6}" type="presParOf" srcId="{EDC52CF1-B637-4E7E-9935-EF4946A5DF64}" destId="{7E1D6153-EF50-414B-B62D-31BAA28D2F0C}" srcOrd="0" destOrd="0" presId="urn:microsoft.com/office/officeart/2009/layout/CirclePictureHierarchy"/>
    <dgm:cxn modelId="{6CFCFFDA-1917-46A1-BDB3-3BF9F68BF905}" type="presParOf" srcId="{EDC52CF1-B637-4E7E-9935-EF4946A5DF64}" destId="{5F228B61-76CE-493E-B7E1-72F73C10CD9B}" srcOrd="1" destOrd="0" presId="urn:microsoft.com/office/officeart/2009/layout/CirclePictureHierarchy"/>
    <dgm:cxn modelId="{D2E7E80D-C4B3-4B9B-9830-C3C555FBAECD}" type="presParOf" srcId="{5F228B61-76CE-493E-B7E1-72F73C10CD9B}" destId="{1B7DA107-19CC-4F49-952C-163BC0923338}" srcOrd="0" destOrd="0" presId="urn:microsoft.com/office/officeart/2009/layout/CirclePictureHierarchy"/>
    <dgm:cxn modelId="{A00A0BAD-F5C4-4DBE-9205-3345CFF74CB5}" type="presParOf" srcId="{1B7DA107-19CC-4F49-952C-163BC0923338}" destId="{753D2C21-DC26-4EE6-A9DF-832D96E9F99A}" srcOrd="0" destOrd="0" presId="urn:microsoft.com/office/officeart/2009/layout/CirclePictureHierarchy"/>
    <dgm:cxn modelId="{B48643C9-ECAC-4DA6-938A-27C5EE38B95F}" type="presParOf" srcId="{1B7DA107-19CC-4F49-952C-163BC0923338}" destId="{383F4D6C-06FD-4B01-8F3D-F85295A9573D}" srcOrd="1" destOrd="0" presId="urn:microsoft.com/office/officeart/2009/layout/CirclePictureHierarchy"/>
    <dgm:cxn modelId="{0DF323FC-E760-4EDE-8BF5-DDF1CD6B81AC}" type="presParOf" srcId="{5F228B61-76CE-493E-B7E1-72F73C10CD9B}" destId="{6D1FCA77-A09E-4A1D-A6B5-87F8169EDB6F}" srcOrd="1" destOrd="0" presId="urn:microsoft.com/office/officeart/2009/layout/CirclePictureHierarchy"/>
    <dgm:cxn modelId="{758739F9-03BF-4337-AB35-92C8709543BF}" type="presParOf" srcId="{EDC52CF1-B637-4E7E-9935-EF4946A5DF64}" destId="{663AA27F-1B9B-4F37-B994-6C565866B569}" srcOrd="2" destOrd="0" presId="urn:microsoft.com/office/officeart/2009/layout/CirclePictureHierarchy"/>
    <dgm:cxn modelId="{033DB17B-2394-4A83-9C70-91CA86FC736F}" type="presParOf" srcId="{EDC52CF1-B637-4E7E-9935-EF4946A5DF64}" destId="{300FC761-A72B-42F3-B0C1-995888DC2105}" srcOrd="3" destOrd="0" presId="urn:microsoft.com/office/officeart/2009/layout/CirclePictureHierarchy"/>
    <dgm:cxn modelId="{693FE8CE-1190-4C15-B581-516415586DC3}" type="presParOf" srcId="{300FC761-A72B-42F3-B0C1-995888DC2105}" destId="{A2C5F8B4-5402-4280-AA73-017229CC96C6}" srcOrd="0" destOrd="0" presId="urn:microsoft.com/office/officeart/2009/layout/CirclePictureHierarchy"/>
    <dgm:cxn modelId="{9033B547-3F66-4186-9C03-451CF8012D0A}" type="presParOf" srcId="{A2C5F8B4-5402-4280-AA73-017229CC96C6}" destId="{874402B0-94B3-4065-8308-A5470222B684}" srcOrd="0" destOrd="0" presId="urn:microsoft.com/office/officeart/2009/layout/CirclePictureHierarchy"/>
    <dgm:cxn modelId="{D49C3C44-3B3C-466D-BF7A-202A18A2AA20}" type="presParOf" srcId="{A2C5F8B4-5402-4280-AA73-017229CC96C6}" destId="{C564E1DD-8598-4FA2-8AC3-FB9970112159}" srcOrd="1" destOrd="0" presId="urn:microsoft.com/office/officeart/2009/layout/CirclePictureHierarchy"/>
    <dgm:cxn modelId="{0BDEA676-7701-470A-899A-65603B03C4F6}" type="presParOf" srcId="{300FC761-A72B-42F3-B0C1-995888DC2105}" destId="{50D0BECF-A461-4D60-BDC9-588552738FED}" srcOrd="1" destOrd="0" presId="urn:microsoft.com/office/officeart/2009/layout/CirclePictureHierarchy"/>
    <dgm:cxn modelId="{C5EF60CF-305A-429C-9E22-7F4BB2C82D79}" type="presParOf" srcId="{17EF51C8-79C7-461D-8B2A-EB23EF13D828}" destId="{049D6D89-22CD-4859-B1DA-4B967962C835}" srcOrd="6" destOrd="0" presId="urn:microsoft.com/office/officeart/2009/layout/CirclePictureHierarchy"/>
    <dgm:cxn modelId="{3F91980C-008B-45A6-859F-4E1D01BE17D9}" type="presParOf" srcId="{17EF51C8-79C7-461D-8B2A-EB23EF13D828}" destId="{DCD7DA4D-9B50-4277-AEFA-D8D1E57F86BB}" srcOrd="7" destOrd="0" presId="urn:microsoft.com/office/officeart/2009/layout/CirclePictureHierarchy"/>
    <dgm:cxn modelId="{4392E0C3-7B88-4A9F-99D7-F2EF8883811D}" type="presParOf" srcId="{DCD7DA4D-9B50-4277-AEFA-D8D1E57F86BB}" destId="{5BCE3406-4095-45CA-9B19-32359DE9A1C7}" srcOrd="0" destOrd="0" presId="urn:microsoft.com/office/officeart/2009/layout/CirclePictureHierarchy"/>
    <dgm:cxn modelId="{BF7E279A-DC0A-485C-B497-18C3E9FD92BF}" type="presParOf" srcId="{5BCE3406-4095-45CA-9B19-32359DE9A1C7}" destId="{96754964-2F62-4DB9-9EB1-0CDB9E8A529B}" srcOrd="0" destOrd="0" presId="urn:microsoft.com/office/officeart/2009/layout/CirclePictureHierarchy"/>
    <dgm:cxn modelId="{F1481038-5DC9-467A-A97D-87B51F78A6B1}" type="presParOf" srcId="{5BCE3406-4095-45CA-9B19-32359DE9A1C7}" destId="{443EDE38-C212-4FBA-BEB7-B5D48818C3FC}" srcOrd="1" destOrd="0" presId="urn:microsoft.com/office/officeart/2009/layout/CirclePictureHierarchy"/>
    <dgm:cxn modelId="{13DB274E-B415-4730-B927-C016C0DBD8A7}" type="presParOf" srcId="{DCD7DA4D-9B50-4277-AEFA-D8D1E57F86BB}" destId="{A9274047-29E2-455F-858C-4F0609AF2344}" srcOrd="1" destOrd="0" presId="urn:microsoft.com/office/officeart/2009/layout/CirclePictureHierarchy"/>
    <dgm:cxn modelId="{0F67B02E-72D0-48F4-B0E8-36E9A4E96A32}" type="presParOf" srcId="{A9274047-29E2-455F-858C-4F0609AF2344}" destId="{545251F7-755E-4D69-85AC-512F3A134EE4}" srcOrd="0" destOrd="0" presId="urn:microsoft.com/office/officeart/2009/layout/CirclePictureHierarchy"/>
    <dgm:cxn modelId="{598BC501-8BA9-4E5F-8E3A-711E831C83F4}" type="presParOf" srcId="{A9274047-29E2-455F-858C-4F0609AF2344}" destId="{5C9DB089-B223-4129-AB0C-E3B268AD0DEC}" srcOrd="1" destOrd="0" presId="urn:microsoft.com/office/officeart/2009/layout/CirclePictureHierarchy"/>
    <dgm:cxn modelId="{9BE45189-B6C9-4702-B133-76703A17F4D4}" type="presParOf" srcId="{5C9DB089-B223-4129-AB0C-E3B268AD0DEC}" destId="{7E08028F-5973-4911-A7AF-73C913CF57E2}" srcOrd="0" destOrd="0" presId="urn:microsoft.com/office/officeart/2009/layout/CirclePictureHierarchy"/>
    <dgm:cxn modelId="{80E050F1-A507-4BD8-AE25-49E099ED6F51}" type="presParOf" srcId="{7E08028F-5973-4911-A7AF-73C913CF57E2}" destId="{AD75A403-E368-433A-9486-10D865EDEFE4}" srcOrd="0" destOrd="0" presId="urn:microsoft.com/office/officeart/2009/layout/CirclePictureHierarchy"/>
    <dgm:cxn modelId="{08A96C37-543D-4CA5-B21B-74F1B2568C50}" type="presParOf" srcId="{7E08028F-5973-4911-A7AF-73C913CF57E2}" destId="{B8CFDDD5-DF30-4E56-B3C4-E86E7F5F3908}" srcOrd="1" destOrd="0" presId="urn:microsoft.com/office/officeart/2009/layout/CirclePictureHierarchy"/>
    <dgm:cxn modelId="{1F0A46E5-3E7A-42D8-A69E-827DA3ADABED}" type="presParOf" srcId="{5C9DB089-B223-4129-AB0C-E3B268AD0DEC}" destId="{9FD1E413-93C0-44AF-9C4F-F5A297A91B48}" srcOrd="1" destOrd="0" presId="urn:microsoft.com/office/officeart/2009/layout/CirclePictureHierarchy"/>
    <dgm:cxn modelId="{5FBEB0D1-7778-4074-A0A9-0F12CA7B7003}" type="presParOf" srcId="{9FD1E413-93C0-44AF-9C4F-F5A297A91B48}" destId="{13339BAD-5D6E-4950-8F70-996CFBB95628}" srcOrd="0" destOrd="0" presId="urn:microsoft.com/office/officeart/2009/layout/CirclePictureHierarchy"/>
    <dgm:cxn modelId="{72632E1D-81F7-46D0-AF56-B25391138CFF}" type="presParOf" srcId="{9FD1E413-93C0-44AF-9C4F-F5A297A91B48}" destId="{CF9F6EF0-E401-4FC7-B405-26B2D22073B8}" srcOrd="1" destOrd="0" presId="urn:microsoft.com/office/officeart/2009/layout/CirclePictureHierarchy"/>
    <dgm:cxn modelId="{C6591B99-6EC3-48E2-A185-A147277886A5}" type="presParOf" srcId="{CF9F6EF0-E401-4FC7-B405-26B2D22073B8}" destId="{232191C0-06A7-4DC8-882E-12DEBBB5F694}" srcOrd="0" destOrd="0" presId="urn:microsoft.com/office/officeart/2009/layout/CirclePictureHierarchy"/>
    <dgm:cxn modelId="{23A83063-CA70-448F-8CEE-74A9D959B9E5}" type="presParOf" srcId="{232191C0-06A7-4DC8-882E-12DEBBB5F694}" destId="{3C9360C0-8178-4641-B423-265F61D6A8AD}" srcOrd="0" destOrd="0" presId="urn:microsoft.com/office/officeart/2009/layout/CirclePictureHierarchy"/>
    <dgm:cxn modelId="{3388DD07-37C0-4DEC-AB4C-3D00AC7B15D1}" type="presParOf" srcId="{232191C0-06A7-4DC8-882E-12DEBBB5F694}" destId="{6DF8765B-E162-4CA1-85C6-2C8C7C62FCC5}" srcOrd="1" destOrd="0" presId="urn:microsoft.com/office/officeart/2009/layout/CirclePictureHierarchy"/>
    <dgm:cxn modelId="{C443EEF0-0BCE-43C9-B55F-0ABAEEF402C5}" type="presParOf" srcId="{CF9F6EF0-E401-4FC7-B405-26B2D22073B8}" destId="{2704C996-845F-42B8-9309-3FD7605186A1}" srcOrd="1" destOrd="0" presId="urn:microsoft.com/office/officeart/2009/layout/CirclePictureHierarchy"/>
    <dgm:cxn modelId="{E34608C5-5765-478D-A21E-74643D242592}" type="presParOf" srcId="{9FD1E413-93C0-44AF-9C4F-F5A297A91B48}" destId="{76CB2C8F-25EF-459F-963D-BD5A89A168B9}" srcOrd="2" destOrd="0" presId="urn:microsoft.com/office/officeart/2009/layout/CirclePictureHierarchy"/>
    <dgm:cxn modelId="{AF565F2D-1FE8-4A22-84B5-D89CAD667444}" type="presParOf" srcId="{9FD1E413-93C0-44AF-9C4F-F5A297A91B48}" destId="{79DBEE2A-A01C-46C0-ADAE-1A68B2EEE8C4}" srcOrd="3" destOrd="0" presId="urn:microsoft.com/office/officeart/2009/layout/CirclePictureHierarchy"/>
    <dgm:cxn modelId="{A87F2565-F2A9-46E7-98AD-FA7A471FCAC5}" type="presParOf" srcId="{79DBEE2A-A01C-46C0-ADAE-1A68B2EEE8C4}" destId="{A5187E01-1FE6-4A4E-B185-DEB171293CF1}" srcOrd="0" destOrd="0" presId="urn:microsoft.com/office/officeart/2009/layout/CirclePictureHierarchy"/>
    <dgm:cxn modelId="{D59360FD-0FE3-4607-A161-2D96CFEFE940}" type="presParOf" srcId="{A5187E01-1FE6-4A4E-B185-DEB171293CF1}" destId="{2578853F-CA79-41F2-A8A9-E9015C4CDE74}" srcOrd="0" destOrd="0" presId="urn:microsoft.com/office/officeart/2009/layout/CirclePictureHierarchy"/>
    <dgm:cxn modelId="{6A7310B8-1E03-4E08-9576-4C4FB90C3C5C}" type="presParOf" srcId="{A5187E01-1FE6-4A4E-B185-DEB171293CF1}" destId="{4BBCB797-AC0C-4CAF-A878-CBD478F1415E}" srcOrd="1" destOrd="0" presId="urn:microsoft.com/office/officeart/2009/layout/CirclePictureHierarchy"/>
    <dgm:cxn modelId="{27E37763-E142-454C-B9D1-7D3B7833D4D6}" type="presParOf" srcId="{79DBEE2A-A01C-46C0-ADAE-1A68B2EEE8C4}" destId="{1D176D2B-D67B-464E-9C81-FE8AADDDD607}" srcOrd="1" destOrd="0" presId="urn:microsoft.com/office/officeart/2009/layout/CirclePictureHierarchy"/>
    <dgm:cxn modelId="{CCE26644-6DB8-4732-8C99-F5840D4724E3}" type="presParOf" srcId="{A9274047-29E2-455F-858C-4F0609AF2344}" destId="{743A8AC1-0F57-405A-87FD-29A91A5AA3F6}" srcOrd="2" destOrd="0" presId="urn:microsoft.com/office/officeart/2009/layout/CirclePictureHierarchy"/>
    <dgm:cxn modelId="{67741419-179C-4445-B06F-54FE30CD6B2C}" type="presParOf" srcId="{A9274047-29E2-455F-858C-4F0609AF2344}" destId="{5BC5FB87-341A-458F-B8D9-4720732229A7}" srcOrd="3" destOrd="0" presId="urn:microsoft.com/office/officeart/2009/layout/CirclePictureHierarchy"/>
    <dgm:cxn modelId="{AB8166CD-E59D-4D65-9A71-E45EC905550D}" type="presParOf" srcId="{5BC5FB87-341A-458F-B8D9-4720732229A7}" destId="{31E2E2B2-6211-4A9D-B9EB-C127A4C024C8}" srcOrd="0" destOrd="0" presId="urn:microsoft.com/office/officeart/2009/layout/CirclePictureHierarchy"/>
    <dgm:cxn modelId="{B78088C3-DC10-4C83-A457-A6DCA425085F}" type="presParOf" srcId="{31E2E2B2-6211-4A9D-B9EB-C127A4C024C8}" destId="{D277EFF2-2A12-4953-9C7D-12E06E2C991A}" srcOrd="0" destOrd="0" presId="urn:microsoft.com/office/officeart/2009/layout/CirclePictureHierarchy"/>
    <dgm:cxn modelId="{DE84CCBB-7F4C-4A95-B804-1A874D2F207D}" type="presParOf" srcId="{31E2E2B2-6211-4A9D-B9EB-C127A4C024C8}" destId="{1F3CC4D2-9C97-4FB1-8BCA-F2FE537709ED}" srcOrd="1" destOrd="0" presId="urn:microsoft.com/office/officeart/2009/layout/CirclePictureHierarchy"/>
    <dgm:cxn modelId="{361A180F-238C-4647-BDAC-6B67F4A984B7}" type="presParOf" srcId="{5BC5FB87-341A-458F-B8D9-4720732229A7}" destId="{DCD9D387-A6F4-4157-8F51-29DC7EDF52DE}" srcOrd="1" destOrd="0" presId="urn:microsoft.com/office/officeart/2009/layout/CirclePicture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586AADE-5F24-4867-B97E-44EBBEC36F4F}"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286583B8-B80A-45D6-8951-03A6146132A3}">
      <dgm:prSet phldrT="[Text]" custT="1"/>
      <dgm:spPr>
        <a:solidFill>
          <a:srgbClr val="42B0D2"/>
        </a:solidFill>
      </dgm:spPr>
      <dgm:t>
        <a:bodyPr/>
        <a:lstStyle/>
        <a:p>
          <a:r>
            <a:rPr lang="en-US" sz="3200" dirty="0"/>
            <a:t>Conduct rapid HIV test</a:t>
          </a:r>
        </a:p>
      </dgm:t>
    </dgm:pt>
    <dgm:pt modelId="{EF22EABE-DEC0-4B74-B350-425A1CB509A8}" type="parTrans" cxnId="{6A9AE90F-143F-4833-BD28-B8CA039F6F95}">
      <dgm:prSet/>
      <dgm:spPr/>
      <dgm:t>
        <a:bodyPr/>
        <a:lstStyle/>
        <a:p>
          <a:endParaRPr lang="en-US" sz="2400"/>
        </a:p>
      </dgm:t>
    </dgm:pt>
    <dgm:pt modelId="{34CC77FC-9B56-4E49-BE27-90CC68401F4A}" type="sibTrans" cxnId="{6A9AE90F-143F-4833-BD28-B8CA039F6F95}">
      <dgm:prSet/>
      <dgm:spPr/>
      <dgm:t>
        <a:bodyPr/>
        <a:lstStyle/>
        <a:p>
          <a:endParaRPr lang="en-US" sz="2400"/>
        </a:p>
      </dgm:t>
    </dgm:pt>
    <dgm:pt modelId="{C987B479-C48E-4D22-86C0-35992BF75194}">
      <dgm:prSet custT="1"/>
      <dgm:spPr/>
      <dgm:t>
        <a:bodyPr/>
        <a:lstStyle/>
        <a:p>
          <a:r>
            <a:rPr lang="en-US" sz="3200" dirty="0"/>
            <a:t>If positive, link to HIV care and treatment</a:t>
          </a:r>
        </a:p>
      </dgm:t>
    </dgm:pt>
    <dgm:pt modelId="{D83E8B60-501B-49D4-9DA3-20FFFF2DC441}" type="parTrans" cxnId="{F0965716-BEBB-4F6A-AF6E-E03EEE0E2C36}">
      <dgm:prSet/>
      <dgm:spPr/>
      <dgm:t>
        <a:bodyPr/>
        <a:lstStyle/>
        <a:p>
          <a:endParaRPr lang="en-US" sz="2400"/>
        </a:p>
      </dgm:t>
    </dgm:pt>
    <dgm:pt modelId="{31BF7118-8691-41AE-B049-A830814E6D04}" type="sibTrans" cxnId="{F0965716-BEBB-4F6A-AF6E-E03EEE0E2C36}">
      <dgm:prSet/>
      <dgm:spPr/>
      <dgm:t>
        <a:bodyPr/>
        <a:lstStyle/>
        <a:p>
          <a:endParaRPr lang="en-US" sz="2400"/>
        </a:p>
      </dgm:t>
    </dgm:pt>
    <dgm:pt modelId="{C0DF0716-A532-4EB1-BA07-30F3EA410323}">
      <dgm:prSet custT="1"/>
      <dgm:spPr/>
      <dgm:t>
        <a:bodyPr/>
        <a:lstStyle/>
        <a:p>
          <a:r>
            <a:rPr lang="en-US" sz="2700" dirty="0"/>
            <a:t>If negative, offer HIV counseling and prevention services as indicated (e.g. condoms, lube, </a:t>
          </a:r>
          <a:r>
            <a:rPr lang="en-US" sz="2700" dirty="0" err="1"/>
            <a:t>PrEP</a:t>
          </a:r>
          <a:r>
            <a:rPr lang="en-US" sz="2700" dirty="0"/>
            <a:t>, etc.)</a:t>
          </a:r>
        </a:p>
      </dgm:t>
    </dgm:pt>
    <dgm:pt modelId="{EBF7C26A-2EA5-4889-8BCB-3F685FC7DC05}" type="parTrans" cxnId="{68D79197-F1E8-47EF-B286-3644E9C0752B}">
      <dgm:prSet/>
      <dgm:spPr/>
      <dgm:t>
        <a:bodyPr/>
        <a:lstStyle/>
        <a:p>
          <a:endParaRPr lang="en-US" sz="2400"/>
        </a:p>
      </dgm:t>
    </dgm:pt>
    <dgm:pt modelId="{87CD3B5D-ACC6-4082-8049-345C8D46AECA}" type="sibTrans" cxnId="{68D79197-F1E8-47EF-B286-3644E9C0752B}">
      <dgm:prSet/>
      <dgm:spPr/>
      <dgm:t>
        <a:bodyPr/>
        <a:lstStyle/>
        <a:p>
          <a:endParaRPr lang="en-US" sz="2400"/>
        </a:p>
      </dgm:t>
    </dgm:pt>
    <dgm:pt modelId="{0B291967-2A1F-419D-A908-16C65CB4AEC1}">
      <dgm:prSet custT="1"/>
      <dgm:spPr/>
      <dgm:t>
        <a:bodyPr/>
        <a:lstStyle/>
        <a:p>
          <a:r>
            <a:rPr lang="en-US" sz="2400" dirty="0"/>
            <a:t>Offer high-risk members opportunity to recruit their social, drug-using, and sexual network members for HTS</a:t>
          </a:r>
        </a:p>
      </dgm:t>
    </dgm:pt>
    <dgm:pt modelId="{84A42FD6-4399-485F-998F-03A3E25EA86D}" type="sibTrans" cxnId="{AC48D1FA-5788-4C6F-9B74-9937FC6CE82C}">
      <dgm:prSet/>
      <dgm:spPr/>
      <dgm:t>
        <a:bodyPr/>
        <a:lstStyle/>
        <a:p>
          <a:endParaRPr lang="en-US" sz="2400"/>
        </a:p>
      </dgm:t>
    </dgm:pt>
    <dgm:pt modelId="{193408C9-406C-4718-810E-789DCC408CFD}" type="parTrans" cxnId="{AC48D1FA-5788-4C6F-9B74-9937FC6CE82C}">
      <dgm:prSet/>
      <dgm:spPr/>
      <dgm:t>
        <a:bodyPr/>
        <a:lstStyle/>
        <a:p>
          <a:endParaRPr lang="en-US" sz="2400"/>
        </a:p>
      </dgm:t>
    </dgm:pt>
    <dgm:pt modelId="{C8F609B5-BADC-4CEF-8DE7-AFB3FC40E40E}" type="pres">
      <dgm:prSet presAssocID="{E586AADE-5F24-4867-B97E-44EBBEC36F4F}" presName="linear" presStyleCnt="0">
        <dgm:presLayoutVars>
          <dgm:dir/>
          <dgm:resizeHandles val="exact"/>
        </dgm:presLayoutVars>
      </dgm:prSet>
      <dgm:spPr/>
    </dgm:pt>
    <dgm:pt modelId="{737A1B37-44E3-4F36-A246-1A909928DB9B}" type="pres">
      <dgm:prSet presAssocID="{286583B8-B80A-45D6-8951-03A6146132A3}" presName="comp" presStyleCnt="0"/>
      <dgm:spPr/>
    </dgm:pt>
    <dgm:pt modelId="{5E80A3ED-3468-426F-A4FF-C9398070A3C5}" type="pres">
      <dgm:prSet presAssocID="{286583B8-B80A-45D6-8951-03A6146132A3}" presName="box" presStyleLbl="node1" presStyleIdx="0" presStyleCnt="4"/>
      <dgm:spPr/>
    </dgm:pt>
    <dgm:pt modelId="{94E019F3-622D-421F-83D8-2408DA1548AD}" type="pres">
      <dgm:prSet presAssocID="{286583B8-B80A-45D6-8951-03A6146132A3}" presName="img"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dgm:spPr>
    </dgm:pt>
    <dgm:pt modelId="{99210C41-13C9-4EC6-B7FF-3197A0666771}" type="pres">
      <dgm:prSet presAssocID="{286583B8-B80A-45D6-8951-03A6146132A3}" presName="text" presStyleLbl="node1" presStyleIdx="0" presStyleCnt="4">
        <dgm:presLayoutVars>
          <dgm:bulletEnabled val="1"/>
        </dgm:presLayoutVars>
      </dgm:prSet>
      <dgm:spPr/>
    </dgm:pt>
    <dgm:pt modelId="{B026273F-B527-4148-8DE8-585B96EEE78F}" type="pres">
      <dgm:prSet presAssocID="{34CC77FC-9B56-4E49-BE27-90CC68401F4A}" presName="spacer" presStyleCnt="0"/>
      <dgm:spPr/>
    </dgm:pt>
    <dgm:pt modelId="{07E1188A-8B91-41A9-9E5B-BD340838FB55}" type="pres">
      <dgm:prSet presAssocID="{C987B479-C48E-4D22-86C0-35992BF75194}" presName="comp" presStyleCnt="0"/>
      <dgm:spPr/>
    </dgm:pt>
    <dgm:pt modelId="{41532153-8CE6-47DF-B390-D6AFCF6AD11D}" type="pres">
      <dgm:prSet presAssocID="{C987B479-C48E-4D22-86C0-35992BF75194}" presName="box" presStyleLbl="node1" presStyleIdx="1" presStyleCnt="4"/>
      <dgm:spPr/>
    </dgm:pt>
    <dgm:pt modelId="{A1FDE6B5-C699-4BB0-9AC9-ACB1447FD3CD}" type="pres">
      <dgm:prSet presAssocID="{C987B479-C48E-4D22-86C0-35992BF75194}" presName="img" presStyleLbl="fgImgPlace1" presStyleIdx="1" presStyleCnt="4"/>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17000" b="-17000"/>
          </a:stretch>
        </a:blipFill>
      </dgm:spPr>
    </dgm:pt>
    <dgm:pt modelId="{DAB74189-4DEE-4F50-A433-1B00CA7DE4A0}" type="pres">
      <dgm:prSet presAssocID="{C987B479-C48E-4D22-86C0-35992BF75194}" presName="text" presStyleLbl="node1" presStyleIdx="1" presStyleCnt="4">
        <dgm:presLayoutVars>
          <dgm:bulletEnabled val="1"/>
        </dgm:presLayoutVars>
      </dgm:prSet>
      <dgm:spPr/>
    </dgm:pt>
    <dgm:pt modelId="{696549FB-BECE-489E-B7EF-CE41F0CF4A3E}" type="pres">
      <dgm:prSet presAssocID="{31BF7118-8691-41AE-B049-A830814E6D04}" presName="spacer" presStyleCnt="0"/>
      <dgm:spPr/>
    </dgm:pt>
    <dgm:pt modelId="{E61BBBE6-5A0E-4930-81BA-6050ACDAA8D7}" type="pres">
      <dgm:prSet presAssocID="{C0DF0716-A532-4EB1-BA07-30F3EA410323}" presName="comp" presStyleCnt="0"/>
      <dgm:spPr/>
    </dgm:pt>
    <dgm:pt modelId="{5869D271-481F-44BD-AFB7-1077345633E4}" type="pres">
      <dgm:prSet presAssocID="{C0DF0716-A532-4EB1-BA07-30F3EA410323}" presName="box" presStyleLbl="node1" presStyleIdx="2" presStyleCnt="4"/>
      <dgm:spPr/>
    </dgm:pt>
    <dgm:pt modelId="{B225CBC0-1E87-424D-AA60-3B2137374938}" type="pres">
      <dgm:prSet presAssocID="{C0DF0716-A532-4EB1-BA07-30F3EA410323}" presName="img"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t="-4000" b="-4000"/>
          </a:stretch>
        </a:blipFill>
      </dgm:spPr>
    </dgm:pt>
    <dgm:pt modelId="{A941E8EC-59E8-4429-9BE1-ABC8F223052D}" type="pres">
      <dgm:prSet presAssocID="{C0DF0716-A532-4EB1-BA07-30F3EA410323}" presName="text" presStyleLbl="node1" presStyleIdx="2" presStyleCnt="4">
        <dgm:presLayoutVars>
          <dgm:bulletEnabled val="1"/>
        </dgm:presLayoutVars>
      </dgm:prSet>
      <dgm:spPr/>
    </dgm:pt>
    <dgm:pt modelId="{3D8C8D7F-3F38-421D-8468-6C5789BBE320}" type="pres">
      <dgm:prSet presAssocID="{87CD3B5D-ACC6-4082-8049-345C8D46AECA}" presName="spacer" presStyleCnt="0"/>
      <dgm:spPr/>
    </dgm:pt>
    <dgm:pt modelId="{8A3325F6-E6F4-45AC-A30B-3C4B89534222}" type="pres">
      <dgm:prSet presAssocID="{0B291967-2A1F-419D-A908-16C65CB4AEC1}" presName="comp" presStyleCnt="0"/>
      <dgm:spPr/>
    </dgm:pt>
    <dgm:pt modelId="{C6EC671B-B0D3-452D-BC1D-D3DD0D989B16}" type="pres">
      <dgm:prSet presAssocID="{0B291967-2A1F-419D-A908-16C65CB4AEC1}" presName="box" presStyleLbl="node1" presStyleIdx="3" presStyleCnt="4"/>
      <dgm:spPr/>
    </dgm:pt>
    <dgm:pt modelId="{030CB5D2-3058-4D9F-A157-296254370329}" type="pres">
      <dgm:prSet presAssocID="{0B291967-2A1F-419D-A908-16C65CB4AEC1}" presName="img" presStyleLbl="fgImgPlace1" presStyleIdx="3" presStyleCnt="4"/>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t="-8000" b="-8000"/>
          </a:stretch>
        </a:blipFill>
      </dgm:spPr>
    </dgm:pt>
    <dgm:pt modelId="{81773897-2AF6-47DA-92A2-57D341ED0829}" type="pres">
      <dgm:prSet presAssocID="{0B291967-2A1F-419D-A908-16C65CB4AEC1}" presName="text" presStyleLbl="node1" presStyleIdx="3" presStyleCnt="4">
        <dgm:presLayoutVars>
          <dgm:bulletEnabled val="1"/>
        </dgm:presLayoutVars>
      </dgm:prSet>
      <dgm:spPr/>
    </dgm:pt>
  </dgm:ptLst>
  <dgm:cxnLst>
    <dgm:cxn modelId="{33F3950A-3EDB-45B6-9491-0ABEB9DCC4E2}" type="presOf" srcId="{286583B8-B80A-45D6-8951-03A6146132A3}" destId="{5E80A3ED-3468-426F-A4FF-C9398070A3C5}" srcOrd="0" destOrd="0" presId="urn:microsoft.com/office/officeart/2005/8/layout/vList4"/>
    <dgm:cxn modelId="{FD590A0F-B22E-4B2F-8B9A-E0B1A93A69DD}" type="presOf" srcId="{C987B479-C48E-4D22-86C0-35992BF75194}" destId="{DAB74189-4DEE-4F50-A433-1B00CA7DE4A0}" srcOrd="1" destOrd="0" presId="urn:microsoft.com/office/officeart/2005/8/layout/vList4"/>
    <dgm:cxn modelId="{6A9AE90F-143F-4833-BD28-B8CA039F6F95}" srcId="{E586AADE-5F24-4867-B97E-44EBBEC36F4F}" destId="{286583B8-B80A-45D6-8951-03A6146132A3}" srcOrd="0" destOrd="0" parTransId="{EF22EABE-DEC0-4B74-B350-425A1CB509A8}" sibTransId="{34CC77FC-9B56-4E49-BE27-90CC68401F4A}"/>
    <dgm:cxn modelId="{F0965716-BEBB-4F6A-AF6E-E03EEE0E2C36}" srcId="{E586AADE-5F24-4867-B97E-44EBBEC36F4F}" destId="{C987B479-C48E-4D22-86C0-35992BF75194}" srcOrd="1" destOrd="0" parTransId="{D83E8B60-501B-49D4-9DA3-20FFFF2DC441}" sibTransId="{31BF7118-8691-41AE-B049-A830814E6D04}"/>
    <dgm:cxn modelId="{756B052A-67AC-45AF-A080-67E0304FB6EA}" type="presOf" srcId="{E586AADE-5F24-4867-B97E-44EBBEC36F4F}" destId="{C8F609B5-BADC-4CEF-8DE7-AFB3FC40E40E}" srcOrd="0" destOrd="0" presId="urn:microsoft.com/office/officeart/2005/8/layout/vList4"/>
    <dgm:cxn modelId="{2DCF7240-D219-4824-9883-0E4720FC474D}" type="presOf" srcId="{0B291967-2A1F-419D-A908-16C65CB4AEC1}" destId="{C6EC671B-B0D3-452D-BC1D-D3DD0D989B16}" srcOrd="0" destOrd="0" presId="urn:microsoft.com/office/officeart/2005/8/layout/vList4"/>
    <dgm:cxn modelId="{47B9856F-987A-44E3-B3BE-8ED3DEF475F7}" type="presOf" srcId="{C987B479-C48E-4D22-86C0-35992BF75194}" destId="{41532153-8CE6-47DF-B390-D6AFCF6AD11D}" srcOrd="0" destOrd="0" presId="urn:microsoft.com/office/officeart/2005/8/layout/vList4"/>
    <dgm:cxn modelId="{28B7B791-D9AF-4A3E-9C48-F280EB9DD461}" type="presOf" srcId="{C0DF0716-A532-4EB1-BA07-30F3EA410323}" destId="{A941E8EC-59E8-4429-9BE1-ABC8F223052D}" srcOrd="1" destOrd="0" presId="urn:microsoft.com/office/officeart/2005/8/layout/vList4"/>
    <dgm:cxn modelId="{66FCE396-2FDD-431E-BF92-EEB2E19B69A9}" type="presOf" srcId="{0B291967-2A1F-419D-A908-16C65CB4AEC1}" destId="{81773897-2AF6-47DA-92A2-57D341ED0829}" srcOrd="1" destOrd="0" presId="urn:microsoft.com/office/officeart/2005/8/layout/vList4"/>
    <dgm:cxn modelId="{68D79197-F1E8-47EF-B286-3644E9C0752B}" srcId="{E586AADE-5F24-4867-B97E-44EBBEC36F4F}" destId="{C0DF0716-A532-4EB1-BA07-30F3EA410323}" srcOrd="2" destOrd="0" parTransId="{EBF7C26A-2EA5-4889-8BCB-3F685FC7DC05}" sibTransId="{87CD3B5D-ACC6-4082-8049-345C8D46AECA}"/>
    <dgm:cxn modelId="{68F0D8A5-E1FF-4DCB-867C-5C0EDCD082C9}" type="presOf" srcId="{C0DF0716-A532-4EB1-BA07-30F3EA410323}" destId="{5869D271-481F-44BD-AFB7-1077345633E4}" srcOrd="0" destOrd="0" presId="urn:microsoft.com/office/officeart/2005/8/layout/vList4"/>
    <dgm:cxn modelId="{B9EEC8BA-BF0D-4E3E-B626-A480DD9114AD}" type="presOf" srcId="{286583B8-B80A-45D6-8951-03A6146132A3}" destId="{99210C41-13C9-4EC6-B7FF-3197A0666771}" srcOrd="1" destOrd="0" presId="urn:microsoft.com/office/officeart/2005/8/layout/vList4"/>
    <dgm:cxn modelId="{AC48D1FA-5788-4C6F-9B74-9937FC6CE82C}" srcId="{E586AADE-5F24-4867-B97E-44EBBEC36F4F}" destId="{0B291967-2A1F-419D-A908-16C65CB4AEC1}" srcOrd="3" destOrd="0" parTransId="{193408C9-406C-4718-810E-789DCC408CFD}" sibTransId="{84A42FD6-4399-485F-998F-03A3E25EA86D}"/>
    <dgm:cxn modelId="{25D9DF2D-8779-4CFC-B0D4-64FFC7062C8C}" type="presParOf" srcId="{C8F609B5-BADC-4CEF-8DE7-AFB3FC40E40E}" destId="{737A1B37-44E3-4F36-A246-1A909928DB9B}" srcOrd="0" destOrd="0" presId="urn:microsoft.com/office/officeart/2005/8/layout/vList4"/>
    <dgm:cxn modelId="{9A5F33DE-BFD7-44CC-8DCA-FCE27F57348A}" type="presParOf" srcId="{737A1B37-44E3-4F36-A246-1A909928DB9B}" destId="{5E80A3ED-3468-426F-A4FF-C9398070A3C5}" srcOrd="0" destOrd="0" presId="urn:microsoft.com/office/officeart/2005/8/layout/vList4"/>
    <dgm:cxn modelId="{F5A1301D-E129-4650-94A8-B11BE768A89A}" type="presParOf" srcId="{737A1B37-44E3-4F36-A246-1A909928DB9B}" destId="{94E019F3-622D-421F-83D8-2408DA1548AD}" srcOrd="1" destOrd="0" presId="urn:microsoft.com/office/officeart/2005/8/layout/vList4"/>
    <dgm:cxn modelId="{376610D6-C98A-40CB-A740-C3C5B2F99FDB}" type="presParOf" srcId="{737A1B37-44E3-4F36-A246-1A909928DB9B}" destId="{99210C41-13C9-4EC6-B7FF-3197A0666771}" srcOrd="2" destOrd="0" presId="urn:microsoft.com/office/officeart/2005/8/layout/vList4"/>
    <dgm:cxn modelId="{E82A95C0-264C-4076-B756-6552EBB67FC4}" type="presParOf" srcId="{C8F609B5-BADC-4CEF-8DE7-AFB3FC40E40E}" destId="{B026273F-B527-4148-8DE8-585B96EEE78F}" srcOrd="1" destOrd="0" presId="urn:microsoft.com/office/officeart/2005/8/layout/vList4"/>
    <dgm:cxn modelId="{C5AD9362-5BBB-4330-B7B2-06058237E1A0}" type="presParOf" srcId="{C8F609B5-BADC-4CEF-8DE7-AFB3FC40E40E}" destId="{07E1188A-8B91-41A9-9E5B-BD340838FB55}" srcOrd="2" destOrd="0" presId="urn:microsoft.com/office/officeart/2005/8/layout/vList4"/>
    <dgm:cxn modelId="{07F6C958-E242-4451-B790-AFF599C2DB2A}" type="presParOf" srcId="{07E1188A-8B91-41A9-9E5B-BD340838FB55}" destId="{41532153-8CE6-47DF-B390-D6AFCF6AD11D}" srcOrd="0" destOrd="0" presId="urn:microsoft.com/office/officeart/2005/8/layout/vList4"/>
    <dgm:cxn modelId="{25B60377-B11A-46D5-BB79-04554B81E547}" type="presParOf" srcId="{07E1188A-8B91-41A9-9E5B-BD340838FB55}" destId="{A1FDE6B5-C699-4BB0-9AC9-ACB1447FD3CD}" srcOrd="1" destOrd="0" presId="urn:microsoft.com/office/officeart/2005/8/layout/vList4"/>
    <dgm:cxn modelId="{D4220FBA-9AA7-47B9-94D3-DB01DF8D3310}" type="presParOf" srcId="{07E1188A-8B91-41A9-9E5B-BD340838FB55}" destId="{DAB74189-4DEE-4F50-A433-1B00CA7DE4A0}" srcOrd="2" destOrd="0" presId="urn:microsoft.com/office/officeart/2005/8/layout/vList4"/>
    <dgm:cxn modelId="{5FEF71C8-C9CC-4D09-B07A-F5F29CCB1BFF}" type="presParOf" srcId="{C8F609B5-BADC-4CEF-8DE7-AFB3FC40E40E}" destId="{696549FB-BECE-489E-B7EF-CE41F0CF4A3E}" srcOrd="3" destOrd="0" presId="urn:microsoft.com/office/officeart/2005/8/layout/vList4"/>
    <dgm:cxn modelId="{C34B2B22-EA2A-4D04-9D3A-BA368DEDDD29}" type="presParOf" srcId="{C8F609B5-BADC-4CEF-8DE7-AFB3FC40E40E}" destId="{E61BBBE6-5A0E-4930-81BA-6050ACDAA8D7}" srcOrd="4" destOrd="0" presId="urn:microsoft.com/office/officeart/2005/8/layout/vList4"/>
    <dgm:cxn modelId="{C2DC68CD-A2FB-4AEC-BC14-C70A8A8F9B24}" type="presParOf" srcId="{E61BBBE6-5A0E-4930-81BA-6050ACDAA8D7}" destId="{5869D271-481F-44BD-AFB7-1077345633E4}" srcOrd="0" destOrd="0" presId="urn:microsoft.com/office/officeart/2005/8/layout/vList4"/>
    <dgm:cxn modelId="{4AE3B4C5-AC23-4785-AD3F-E26B21CB816D}" type="presParOf" srcId="{E61BBBE6-5A0E-4930-81BA-6050ACDAA8D7}" destId="{B225CBC0-1E87-424D-AA60-3B2137374938}" srcOrd="1" destOrd="0" presId="urn:microsoft.com/office/officeart/2005/8/layout/vList4"/>
    <dgm:cxn modelId="{55C34551-8378-41C3-979E-09ACED1B7A79}" type="presParOf" srcId="{E61BBBE6-5A0E-4930-81BA-6050ACDAA8D7}" destId="{A941E8EC-59E8-4429-9BE1-ABC8F223052D}" srcOrd="2" destOrd="0" presId="urn:microsoft.com/office/officeart/2005/8/layout/vList4"/>
    <dgm:cxn modelId="{00CFF7ED-88B1-4AEF-80D2-42C8A6F2B702}" type="presParOf" srcId="{C8F609B5-BADC-4CEF-8DE7-AFB3FC40E40E}" destId="{3D8C8D7F-3F38-421D-8468-6C5789BBE320}" srcOrd="5" destOrd="0" presId="urn:microsoft.com/office/officeart/2005/8/layout/vList4"/>
    <dgm:cxn modelId="{BB3B958F-E737-452B-ADBF-F05D7E883DDD}" type="presParOf" srcId="{C8F609B5-BADC-4CEF-8DE7-AFB3FC40E40E}" destId="{8A3325F6-E6F4-45AC-A30B-3C4B89534222}" srcOrd="6" destOrd="0" presId="urn:microsoft.com/office/officeart/2005/8/layout/vList4"/>
    <dgm:cxn modelId="{F011D8A6-ECB3-4373-9356-9E5BA8D7C8B7}" type="presParOf" srcId="{8A3325F6-E6F4-45AC-A30B-3C4B89534222}" destId="{C6EC671B-B0D3-452D-BC1D-D3DD0D989B16}" srcOrd="0" destOrd="0" presId="urn:microsoft.com/office/officeart/2005/8/layout/vList4"/>
    <dgm:cxn modelId="{AE93DD22-1D81-4174-9A5F-6E836A1602BB}" type="presParOf" srcId="{8A3325F6-E6F4-45AC-A30B-3C4B89534222}" destId="{030CB5D2-3058-4D9F-A157-296254370329}" srcOrd="1" destOrd="0" presId="urn:microsoft.com/office/officeart/2005/8/layout/vList4"/>
    <dgm:cxn modelId="{C4E4B894-367F-41E7-9ABE-656F91C00150}" type="presParOf" srcId="{8A3325F6-E6F4-45AC-A30B-3C4B89534222}" destId="{81773897-2AF6-47DA-92A2-57D341ED0829}"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D624DA-64F7-4262-8970-B2B3DB0E3196}">
      <dsp:nvSpPr>
        <dsp:cNvPr id="0" name=""/>
        <dsp:cNvSpPr/>
      </dsp:nvSpPr>
      <dsp:spPr>
        <a:xfrm>
          <a:off x="221997" y="39371"/>
          <a:ext cx="8682334" cy="2375100"/>
        </a:xfrm>
        <a:prstGeom prst="round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b="0" kern="1200" dirty="0"/>
            <a:t>A </a:t>
          </a:r>
          <a:r>
            <a:rPr lang="en-US" sz="2900" i="0" kern="1200" dirty="0"/>
            <a:t>recruitment</a:t>
          </a:r>
          <a:r>
            <a:rPr lang="en-US" sz="2900" i="1" kern="1200" dirty="0"/>
            <a:t> </a:t>
          </a:r>
          <a:r>
            <a:rPr lang="en-US" sz="2900" b="0" kern="1200" dirty="0"/>
            <a:t>strategy for reaching and providing HIV counseling, testing, and referral services (HTS) to persons who are </a:t>
          </a:r>
          <a:r>
            <a:rPr lang="en-US" sz="2900" i="0" kern="1200" dirty="0"/>
            <a:t>unaware</a:t>
          </a:r>
          <a:r>
            <a:rPr lang="en-US" sz="2900" i="1" kern="1200" dirty="0"/>
            <a:t> </a:t>
          </a:r>
          <a:r>
            <a:rPr lang="en-US" sz="2900" b="0" kern="1200" dirty="0"/>
            <a:t>of their HIV infection by using </a:t>
          </a:r>
          <a:r>
            <a:rPr lang="en-US" sz="2900" kern="1200" dirty="0"/>
            <a:t>social network connections to locate individuals at the highest risk for </a:t>
          </a:r>
          <a:r>
            <a:rPr lang="en-US" sz="2900" i="0" kern="1200" dirty="0"/>
            <a:t>HIV</a:t>
          </a:r>
          <a:r>
            <a:rPr lang="en-US" sz="2900" kern="1200" dirty="0"/>
            <a:t> </a:t>
          </a:r>
        </a:p>
      </dsp:txBody>
      <dsp:txXfrm>
        <a:off x="337940" y="155314"/>
        <a:ext cx="8450448" cy="2143214"/>
      </dsp:txXfrm>
    </dsp:sp>
    <dsp:sp modelId="{49B61D70-13CA-44B0-9308-E46087BF8383}">
      <dsp:nvSpPr>
        <dsp:cNvPr id="0" name=""/>
        <dsp:cNvSpPr/>
      </dsp:nvSpPr>
      <dsp:spPr>
        <a:xfrm>
          <a:off x="0" y="2537363"/>
          <a:ext cx="9126330" cy="2375100"/>
        </a:xfrm>
        <a:prstGeom prst="round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a:t>SNS can be particularly useful in finding key populations and others who are at risk for HIV but have not had easy access to HTS</a:t>
          </a:r>
          <a:endParaRPr lang="en-US" sz="2900" kern="1200" dirty="0"/>
        </a:p>
      </dsp:txBody>
      <dsp:txXfrm>
        <a:off x="115943" y="2653306"/>
        <a:ext cx="8894444" cy="21432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735D2A-DFEF-496A-A73E-F26D662E3A5F}">
      <dsp:nvSpPr>
        <dsp:cNvPr id="0" name=""/>
        <dsp:cNvSpPr/>
      </dsp:nvSpPr>
      <dsp:spPr>
        <a:xfrm>
          <a:off x="0" y="41736"/>
          <a:ext cx="9670592" cy="2357201"/>
        </a:xfrm>
        <a:prstGeom prst="roundRect">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b="0" u="sng" kern="1200" dirty="0"/>
            <a:t>Underlying assumption</a:t>
          </a:r>
          <a:r>
            <a:rPr lang="en-US" sz="2900" b="0" u="none" kern="1200" dirty="0"/>
            <a:t> </a:t>
          </a:r>
          <a:r>
            <a:rPr lang="en-US" sz="2900" b="0" kern="1200" dirty="0"/>
            <a:t>– People in the same social network share similar risk behaviors for HIV</a:t>
          </a:r>
          <a:endParaRPr lang="en-US" sz="2900" kern="1200" dirty="0"/>
        </a:p>
      </dsp:txBody>
      <dsp:txXfrm>
        <a:off x="115069" y="156805"/>
        <a:ext cx="9440454" cy="2127063"/>
      </dsp:txXfrm>
    </dsp:sp>
    <dsp:sp modelId="{D5638102-14C0-4442-BFA5-72F9836E7D4E}">
      <dsp:nvSpPr>
        <dsp:cNvPr id="0" name=""/>
        <dsp:cNvSpPr/>
      </dsp:nvSpPr>
      <dsp:spPr>
        <a:xfrm>
          <a:off x="0" y="2509919"/>
          <a:ext cx="9670592" cy="1492920"/>
        </a:xfrm>
        <a:prstGeom prst="roundRect">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b="0" u="sng" kern="1200" dirty="0"/>
            <a:t>Overall strategy</a:t>
          </a:r>
          <a:r>
            <a:rPr lang="en-US" sz="2900" b="0" u="none" kern="1200" dirty="0"/>
            <a:t> </a:t>
          </a:r>
          <a:r>
            <a:rPr lang="en-US" sz="2900" b="0" kern="1200" dirty="0"/>
            <a:t>– Enlist PLHIV and high-risk, HIV-negative persons (</a:t>
          </a:r>
          <a:r>
            <a:rPr lang="en-US" sz="2900" kern="1200" dirty="0">
              <a:solidFill>
                <a:srgbClr val="42B0D2"/>
              </a:solidFill>
            </a:rPr>
            <a:t>recruiters</a:t>
          </a:r>
          <a:r>
            <a:rPr lang="en-US" sz="2900" kern="1200" dirty="0"/>
            <a:t>)</a:t>
          </a:r>
          <a:r>
            <a:rPr lang="en-US" sz="2900" b="0" kern="1200" dirty="0"/>
            <a:t> to identify individuals from their social, sexual, and drug-using networks (</a:t>
          </a:r>
          <a:r>
            <a:rPr lang="en-US" sz="2900" kern="1200" dirty="0">
              <a:solidFill>
                <a:srgbClr val="42B0D2"/>
              </a:solidFill>
            </a:rPr>
            <a:t>network members</a:t>
          </a:r>
          <a:r>
            <a:rPr lang="en-US" sz="2900" b="0" kern="1200" dirty="0"/>
            <a:t>) for HTS </a:t>
          </a:r>
        </a:p>
      </dsp:txBody>
      <dsp:txXfrm>
        <a:off x="72878" y="2582797"/>
        <a:ext cx="9524836" cy="1347164"/>
      </dsp:txXfrm>
    </dsp:sp>
    <dsp:sp modelId="{15402F5A-F1FB-4685-95B0-EDA1FAAA7B18}">
      <dsp:nvSpPr>
        <dsp:cNvPr id="0" name=""/>
        <dsp:cNvSpPr/>
      </dsp:nvSpPr>
      <dsp:spPr>
        <a:xfrm>
          <a:off x="0" y="4086359"/>
          <a:ext cx="9670592" cy="1150653"/>
        </a:xfrm>
        <a:prstGeom prst="roundRect">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b="0" u="sng" kern="1200" dirty="0"/>
            <a:t>Tactic</a:t>
          </a:r>
          <a:r>
            <a:rPr lang="en-US" sz="2900" b="0" kern="1200" dirty="0"/>
            <a:t> – Use monetary or non-monetary incentivizes to encourage testing and recruitment of network members</a:t>
          </a:r>
        </a:p>
      </dsp:txBody>
      <dsp:txXfrm>
        <a:off x="56170" y="4142529"/>
        <a:ext cx="9558252" cy="10383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9D146A-E5CA-4A1F-B388-5303F5B48C69}">
      <dsp:nvSpPr>
        <dsp:cNvPr id="0" name=""/>
        <dsp:cNvSpPr/>
      </dsp:nvSpPr>
      <dsp:spPr>
        <a:xfrm>
          <a:off x="2389117" y="1699176"/>
          <a:ext cx="518885" cy="951060"/>
        </a:xfrm>
        <a:prstGeom prst="roundRect">
          <a:avLst>
            <a:gd name="adj" fmla="val 10000"/>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a:off x="2404315" y="1714374"/>
        <a:ext cx="488489" cy="920664"/>
      </dsp:txXfrm>
    </dsp:sp>
    <dsp:sp modelId="{03F44E94-CD66-4027-96B7-892CCAC7A6AB}">
      <dsp:nvSpPr>
        <dsp:cNvPr id="0" name=""/>
        <dsp:cNvSpPr/>
      </dsp:nvSpPr>
      <dsp:spPr>
        <a:xfrm rot="19000987">
          <a:off x="2682811" y="1606736"/>
          <a:ext cx="1653205" cy="1788"/>
        </a:xfrm>
        <a:custGeom>
          <a:avLst/>
          <a:gdLst/>
          <a:ahLst/>
          <a:cxnLst/>
          <a:rect l="0" t="0" r="0" b="0"/>
          <a:pathLst>
            <a:path>
              <a:moveTo>
                <a:pt x="0" y="894"/>
              </a:moveTo>
              <a:lnTo>
                <a:pt x="1653205" y="89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3468084" y="1566300"/>
        <a:ext cx="82660" cy="82660"/>
      </dsp:txXfrm>
    </dsp:sp>
    <dsp:sp modelId="{AFDE7534-7E92-4C73-891A-0EE281E0259E}">
      <dsp:nvSpPr>
        <dsp:cNvPr id="0" name=""/>
        <dsp:cNvSpPr/>
      </dsp:nvSpPr>
      <dsp:spPr>
        <a:xfrm>
          <a:off x="4110826" y="565022"/>
          <a:ext cx="521936" cy="951060"/>
        </a:xfrm>
        <a:prstGeom prst="roundRect">
          <a:avLst>
            <a:gd name="adj" fmla="val 10000"/>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a:off x="4126113" y="580309"/>
        <a:ext cx="491362" cy="920486"/>
      </dsp:txXfrm>
    </dsp:sp>
    <dsp:sp modelId="{74E808E7-8C60-4684-9D3C-AE5D05A03FE7}">
      <dsp:nvSpPr>
        <dsp:cNvPr id="0" name=""/>
        <dsp:cNvSpPr/>
      </dsp:nvSpPr>
      <dsp:spPr>
        <a:xfrm rot="19884641">
          <a:off x="4560991" y="757977"/>
          <a:ext cx="1177286" cy="1788"/>
        </a:xfrm>
        <a:custGeom>
          <a:avLst/>
          <a:gdLst/>
          <a:ahLst/>
          <a:cxnLst/>
          <a:rect l="0" t="0" r="0" b="0"/>
          <a:pathLst>
            <a:path>
              <a:moveTo>
                <a:pt x="0" y="894"/>
              </a:moveTo>
              <a:lnTo>
                <a:pt x="1177286" y="89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120202" y="729438"/>
        <a:ext cx="58864" cy="58864"/>
      </dsp:txXfrm>
    </dsp:sp>
    <dsp:sp modelId="{CCB608A3-DAC9-4C98-BBF7-A4A77ED2150F}">
      <dsp:nvSpPr>
        <dsp:cNvPr id="0" name=""/>
        <dsp:cNvSpPr/>
      </dsp:nvSpPr>
      <dsp:spPr>
        <a:xfrm>
          <a:off x="5666505" y="1658"/>
          <a:ext cx="521936" cy="951060"/>
        </a:xfrm>
        <a:prstGeom prst="roundRect">
          <a:avLst>
            <a:gd name="adj" fmla="val 10000"/>
          </a:avLst>
        </a:prstGeom>
        <a:blipFill rotWithShape="0">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a:off x="5681792" y="16945"/>
        <a:ext cx="491362" cy="920486"/>
      </dsp:txXfrm>
    </dsp:sp>
    <dsp:sp modelId="{D2BF0C95-363F-4AAB-8FFA-7DCF2A3E1259}">
      <dsp:nvSpPr>
        <dsp:cNvPr id="0" name=""/>
        <dsp:cNvSpPr/>
      </dsp:nvSpPr>
      <dsp:spPr>
        <a:xfrm rot="1254236">
          <a:off x="4596345" y="1237073"/>
          <a:ext cx="1106577" cy="1788"/>
        </a:xfrm>
        <a:custGeom>
          <a:avLst/>
          <a:gdLst/>
          <a:ahLst/>
          <a:cxnLst/>
          <a:rect l="0" t="0" r="0" b="0"/>
          <a:pathLst>
            <a:path>
              <a:moveTo>
                <a:pt x="0" y="894"/>
              </a:moveTo>
              <a:lnTo>
                <a:pt x="1106577" y="89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121969" y="1210303"/>
        <a:ext cx="55328" cy="55328"/>
      </dsp:txXfrm>
    </dsp:sp>
    <dsp:sp modelId="{89D2BC84-860A-4814-A323-D1720F92DA45}">
      <dsp:nvSpPr>
        <dsp:cNvPr id="0" name=""/>
        <dsp:cNvSpPr/>
      </dsp:nvSpPr>
      <dsp:spPr>
        <a:xfrm>
          <a:off x="5666505" y="959852"/>
          <a:ext cx="521930" cy="951060"/>
        </a:xfrm>
        <a:prstGeom prst="roundRect">
          <a:avLst>
            <a:gd name="adj" fmla="val 10000"/>
          </a:avLst>
        </a:prstGeom>
        <a:blipFill rotWithShape="0">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a:off x="5681792" y="975139"/>
        <a:ext cx="491356" cy="920486"/>
      </dsp:txXfrm>
    </dsp:sp>
    <dsp:sp modelId="{E2E2455F-D65D-4B91-A8BD-C3D7F546250F}">
      <dsp:nvSpPr>
        <dsp:cNvPr id="0" name=""/>
        <dsp:cNvSpPr/>
      </dsp:nvSpPr>
      <dsp:spPr>
        <a:xfrm rot="2922811">
          <a:off x="2597942" y="2858710"/>
          <a:ext cx="1822943" cy="1788"/>
        </a:xfrm>
        <a:custGeom>
          <a:avLst/>
          <a:gdLst/>
          <a:ahLst/>
          <a:cxnLst/>
          <a:rect l="0" t="0" r="0" b="0"/>
          <a:pathLst>
            <a:path>
              <a:moveTo>
                <a:pt x="0" y="894"/>
              </a:moveTo>
              <a:lnTo>
                <a:pt x="1822943" y="89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p>
      </dsp:txBody>
      <dsp:txXfrm>
        <a:off x="3463840" y="2814031"/>
        <a:ext cx="91147" cy="91147"/>
      </dsp:txXfrm>
    </dsp:sp>
    <dsp:sp modelId="{5F997B4D-430E-47DE-940E-F32AB0DC5D7B}">
      <dsp:nvSpPr>
        <dsp:cNvPr id="0" name=""/>
        <dsp:cNvSpPr/>
      </dsp:nvSpPr>
      <dsp:spPr>
        <a:xfrm>
          <a:off x="4110825" y="3068972"/>
          <a:ext cx="521936" cy="951060"/>
        </a:xfrm>
        <a:prstGeom prst="roundRect">
          <a:avLst>
            <a:gd name="adj" fmla="val 10000"/>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a:off x="4126112" y="3084259"/>
        <a:ext cx="491362" cy="920486"/>
      </dsp:txXfrm>
    </dsp:sp>
    <dsp:sp modelId="{9541354F-B891-495F-8439-7AFAABCA3DAE}">
      <dsp:nvSpPr>
        <dsp:cNvPr id="0" name=""/>
        <dsp:cNvSpPr/>
      </dsp:nvSpPr>
      <dsp:spPr>
        <a:xfrm>
          <a:off x="4632762" y="3543608"/>
          <a:ext cx="921022" cy="1788"/>
        </a:xfrm>
        <a:custGeom>
          <a:avLst/>
          <a:gdLst/>
          <a:ahLst/>
          <a:cxnLst/>
          <a:rect l="0" t="0" r="0" b="0"/>
          <a:pathLst>
            <a:path>
              <a:moveTo>
                <a:pt x="0" y="894"/>
              </a:moveTo>
              <a:lnTo>
                <a:pt x="921022" y="89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070247" y="3521477"/>
        <a:ext cx="46051" cy="46051"/>
      </dsp:txXfrm>
    </dsp:sp>
    <dsp:sp modelId="{8FEE9AE3-6508-48DD-B3E8-7C0D0F7C798F}">
      <dsp:nvSpPr>
        <dsp:cNvPr id="0" name=""/>
        <dsp:cNvSpPr/>
      </dsp:nvSpPr>
      <dsp:spPr>
        <a:xfrm>
          <a:off x="5553784" y="3068972"/>
          <a:ext cx="521942" cy="951060"/>
        </a:xfrm>
        <a:prstGeom prst="roundRect">
          <a:avLst>
            <a:gd name="adj" fmla="val 10000"/>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endParaRPr lang="en-US" sz="1500" kern="1200" dirty="0"/>
        </a:p>
      </dsp:txBody>
      <dsp:txXfrm>
        <a:off x="5569071" y="3084259"/>
        <a:ext cx="491368" cy="920486"/>
      </dsp:txXfrm>
    </dsp:sp>
    <dsp:sp modelId="{5BC613A7-068E-41D0-852A-99BD257E8141}">
      <dsp:nvSpPr>
        <dsp:cNvPr id="0" name=""/>
        <dsp:cNvSpPr/>
      </dsp:nvSpPr>
      <dsp:spPr>
        <a:xfrm rot="19992560">
          <a:off x="5957097" y="3045472"/>
          <a:ext cx="2210341" cy="1788"/>
        </a:xfrm>
        <a:custGeom>
          <a:avLst/>
          <a:gdLst/>
          <a:ahLst/>
          <a:cxnLst/>
          <a:rect l="0" t="0" r="0" b="0"/>
          <a:pathLst>
            <a:path>
              <a:moveTo>
                <a:pt x="0" y="894"/>
              </a:moveTo>
              <a:lnTo>
                <a:pt x="2210341" y="89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7007009" y="2991108"/>
        <a:ext cx="110517" cy="110517"/>
      </dsp:txXfrm>
    </dsp:sp>
    <dsp:sp modelId="{7038035E-C49B-41A5-986A-71CB75D1E12D}">
      <dsp:nvSpPr>
        <dsp:cNvPr id="0" name=""/>
        <dsp:cNvSpPr/>
      </dsp:nvSpPr>
      <dsp:spPr>
        <a:xfrm>
          <a:off x="8048808" y="2072700"/>
          <a:ext cx="521939" cy="951060"/>
        </a:xfrm>
        <a:prstGeom prst="roundRect">
          <a:avLst>
            <a:gd name="adj" fmla="val 10000"/>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2800350">
            <a:lnSpc>
              <a:spcPct val="90000"/>
            </a:lnSpc>
            <a:spcBef>
              <a:spcPct val="0"/>
            </a:spcBef>
            <a:spcAft>
              <a:spcPct val="35000"/>
            </a:spcAft>
            <a:buNone/>
          </a:pPr>
          <a:endParaRPr lang="en-US" sz="6300" kern="1200" dirty="0"/>
        </a:p>
      </dsp:txBody>
      <dsp:txXfrm>
        <a:off x="8064095" y="2087987"/>
        <a:ext cx="491365" cy="920486"/>
      </dsp:txXfrm>
    </dsp:sp>
    <dsp:sp modelId="{268CAD21-9112-4B1B-85AF-D0C62B95271E}">
      <dsp:nvSpPr>
        <dsp:cNvPr id="0" name=""/>
        <dsp:cNvSpPr/>
      </dsp:nvSpPr>
      <dsp:spPr>
        <a:xfrm>
          <a:off x="6075727" y="3543608"/>
          <a:ext cx="1991868" cy="1788"/>
        </a:xfrm>
        <a:custGeom>
          <a:avLst/>
          <a:gdLst/>
          <a:ahLst/>
          <a:cxnLst/>
          <a:rect l="0" t="0" r="0" b="0"/>
          <a:pathLst>
            <a:path>
              <a:moveTo>
                <a:pt x="0" y="894"/>
              </a:moveTo>
              <a:lnTo>
                <a:pt x="1991868" y="89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11150">
            <a:lnSpc>
              <a:spcPct val="90000"/>
            </a:lnSpc>
            <a:spcBef>
              <a:spcPct val="0"/>
            </a:spcBef>
            <a:spcAft>
              <a:spcPct val="35000"/>
            </a:spcAft>
            <a:buNone/>
          </a:pPr>
          <a:endParaRPr lang="en-US" sz="700" kern="1200"/>
        </a:p>
      </dsp:txBody>
      <dsp:txXfrm>
        <a:off x="7021864" y="3494706"/>
        <a:ext cx="99593" cy="99593"/>
      </dsp:txXfrm>
    </dsp:sp>
    <dsp:sp modelId="{4849CA46-230B-4ECB-929E-C2F5C846F70A}">
      <dsp:nvSpPr>
        <dsp:cNvPr id="0" name=""/>
        <dsp:cNvSpPr/>
      </dsp:nvSpPr>
      <dsp:spPr>
        <a:xfrm>
          <a:off x="8067595" y="3068972"/>
          <a:ext cx="521940" cy="951060"/>
        </a:xfrm>
        <a:prstGeom prst="roundRect">
          <a:avLst>
            <a:gd name="adj" fmla="val 10000"/>
          </a:avLst>
        </a:prstGeom>
        <a:blipFill rotWithShape="0">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2800350">
            <a:lnSpc>
              <a:spcPct val="90000"/>
            </a:lnSpc>
            <a:spcBef>
              <a:spcPct val="0"/>
            </a:spcBef>
            <a:spcAft>
              <a:spcPct val="35000"/>
            </a:spcAft>
            <a:buNone/>
          </a:pPr>
          <a:endParaRPr lang="en-US" sz="6300" kern="1200" dirty="0"/>
        </a:p>
      </dsp:txBody>
      <dsp:txXfrm>
        <a:off x="8082882" y="3084259"/>
        <a:ext cx="491366" cy="920486"/>
      </dsp:txXfrm>
    </dsp:sp>
    <dsp:sp modelId="{F57A435E-A58C-4FE4-9090-C9E48B484FF5}">
      <dsp:nvSpPr>
        <dsp:cNvPr id="0" name=""/>
        <dsp:cNvSpPr/>
      </dsp:nvSpPr>
      <dsp:spPr>
        <a:xfrm rot="1274743">
          <a:off x="6003787" y="3927168"/>
          <a:ext cx="2116960" cy="1788"/>
        </a:xfrm>
        <a:custGeom>
          <a:avLst/>
          <a:gdLst/>
          <a:ahLst/>
          <a:cxnLst/>
          <a:rect l="0" t="0" r="0" b="0"/>
          <a:pathLst>
            <a:path>
              <a:moveTo>
                <a:pt x="0" y="894"/>
              </a:moveTo>
              <a:lnTo>
                <a:pt x="2116960" y="894"/>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7009343" y="3875138"/>
        <a:ext cx="105848" cy="105848"/>
      </dsp:txXfrm>
    </dsp:sp>
    <dsp:sp modelId="{F8D27F8B-77D2-4A4C-9845-183E196E2793}">
      <dsp:nvSpPr>
        <dsp:cNvPr id="0" name=""/>
        <dsp:cNvSpPr/>
      </dsp:nvSpPr>
      <dsp:spPr>
        <a:xfrm>
          <a:off x="8048808" y="3836092"/>
          <a:ext cx="521942" cy="951060"/>
        </a:xfrm>
        <a:prstGeom prst="roundRect">
          <a:avLst>
            <a:gd name="adj" fmla="val 10000"/>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ctr" defTabSz="2800350">
            <a:lnSpc>
              <a:spcPct val="90000"/>
            </a:lnSpc>
            <a:spcBef>
              <a:spcPct val="0"/>
            </a:spcBef>
            <a:spcAft>
              <a:spcPct val="35000"/>
            </a:spcAft>
            <a:buNone/>
          </a:pPr>
          <a:endParaRPr lang="en-US" sz="6300" kern="1200" dirty="0"/>
        </a:p>
      </dsp:txBody>
      <dsp:txXfrm>
        <a:off x="8064095" y="3851379"/>
        <a:ext cx="491368" cy="92048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BFCC08-FE44-447A-831C-FB943CA1398E}">
      <dsp:nvSpPr>
        <dsp:cNvPr id="0" name=""/>
        <dsp:cNvSpPr/>
      </dsp:nvSpPr>
      <dsp:spPr>
        <a:xfrm>
          <a:off x="8" y="646229"/>
          <a:ext cx="2338054" cy="2805665"/>
        </a:xfrm>
        <a:prstGeom prst="roundRect">
          <a:avLst>
            <a:gd name="adj" fmla="val 5000"/>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vert" wrap="square" lIns="0" tIns="168021" rIns="217805" bIns="0" numCol="1" spcCol="1270" anchor="t" anchorCtr="0">
          <a:noAutofit/>
        </a:bodyPr>
        <a:lstStyle/>
        <a:p>
          <a:pPr marL="0" lvl="0" indent="0" algn="r" defTabSz="2178050">
            <a:lnSpc>
              <a:spcPct val="90000"/>
            </a:lnSpc>
            <a:spcBef>
              <a:spcPct val="0"/>
            </a:spcBef>
            <a:spcAft>
              <a:spcPct val="35000"/>
            </a:spcAft>
            <a:buNone/>
          </a:pPr>
          <a:r>
            <a:rPr lang="en-US" sz="4900" kern="1200" dirty="0">
              <a:solidFill>
                <a:srgbClr val="42B0D2"/>
              </a:solidFill>
            </a:rPr>
            <a:t>1</a:t>
          </a:r>
        </a:p>
      </dsp:txBody>
      <dsp:txXfrm rot="16200000">
        <a:off x="-916509" y="1562746"/>
        <a:ext cx="2300645" cy="467610"/>
      </dsp:txXfrm>
    </dsp:sp>
    <dsp:sp modelId="{F040267D-B6C8-4465-8BE1-A5463276B26C}">
      <dsp:nvSpPr>
        <dsp:cNvPr id="0" name=""/>
        <dsp:cNvSpPr/>
      </dsp:nvSpPr>
      <dsp:spPr>
        <a:xfrm>
          <a:off x="467619" y="646229"/>
          <a:ext cx="1741850" cy="280566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82296" rIns="0" bIns="0" numCol="1" spcCol="1270" anchor="t" anchorCtr="0">
          <a:noAutofit/>
        </a:bodyPr>
        <a:lstStyle/>
        <a:p>
          <a:pPr marL="0" lvl="0" indent="0" algn="l" defTabSz="1066800">
            <a:lnSpc>
              <a:spcPct val="90000"/>
            </a:lnSpc>
            <a:spcBef>
              <a:spcPct val="0"/>
            </a:spcBef>
            <a:spcAft>
              <a:spcPct val="35000"/>
            </a:spcAft>
            <a:buNone/>
          </a:pPr>
          <a:r>
            <a:rPr lang="en-US" sz="2400" kern="1200" dirty="0"/>
            <a:t>Initial Recruiter Identification</a:t>
          </a:r>
        </a:p>
      </dsp:txBody>
      <dsp:txXfrm>
        <a:off x="467619" y="646229"/>
        <a:ext cx="1741850" cy="2805665"/>
      </dsp:txXfrm>
    </dsp:sp>
    <dsp:sp modelId="{5290635A-F99B-444F-AE59-481BD137D15D}">
      <dsp:nvSpPr>
        <dsp:cNvPr id="0" name=""/>
        <dsp:cNvSpPr/>
      </dsp:nvSpPr>
      <dsp:spPr>
        <a:xfrm>
          <a:off x="2628138" y="607735"/>
          <a:ext cx="2338054" cy="2805665"/>
        </a:xfrm>
        <a:prstGeom prst="roundRect">
          <a:avLst>
            <a:gd name="adj" fmla="val 5000"/>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vert" wrap="square" lIns="0" tIns="168021" rIns="217805" bIns="0" numCol="1" spcCol="1270" anchor="t" anchorCtr="0">
          <a:noAutofit/>
        </a:bodyPr>
        <a:lstStyle/>
        <a:p>
          <a:pPr marL="0" lvl="0" indent="0" algn="r" defTabSz="2178050">
            <a:lnSpc>
              <a:spcPct val="90000"/>
            </a:lnSpc>
            <a:spcBef>
              <a:spcPct val="0"/>
            </a:spcBef>
            <a:spcAft>
              <a:spcPct val="35000"/>
            </a:spcAft>
            <a:buNone/>
          </a:pPr>
          <a:r>
            <a:rPr lang="en-US" sz="4900" kern="1200" dirty="0">
              <a:solidFill>
                <a:srgbClr val="42B0D2"/>
              </a:solidFill>
            </a:rPr>
            <a:t>2</a:t>
          </a:r>
        </a:p>
      </dsp:txBody>
      <dsp:txXfrm rot="16200000">
        <a:off x="1711620" y="1524253"/>
        <a:ext cx="2300645" cy="467610"/>
      </dsp:txXfrm>
    </dsp:sp>
    <dsp:sp modelId="{2C4CD3CD-0CB6-4849-B750-500EBD92A8FE}">
      <dsp:nvSpPr>
        <dsp:cNvPr id="0" name=""/>
        <dsp:cNvSpPr/>
      </dsp:nvSpPr>
      <dsp:spPr>
        <a:xfrm rot="5400000">
          <a:off x="2238302" y="2656926"/>
          <a:ext cx="596702" cy="557057"/>
        </a:xfrm>
        <a:prstGeom prst="flowChartExtra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3113CD1-CEEF-476C-AD1D-DAF9D09F8AC5}">
      <dsp:nvSpPr>
        <dsp:cNvPr id="0" name=""/>
        <dsp:cNvSpPr/>
      </dsp:nvSpPr>
      <dsp:spPr>
        <a:xfrm>
          <a:off x="3095749" y="607735"/>
          <a:ext cx="1741850" cy="280566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96012" rIns="0" bIns="0" numCol="1" spcCol="1270" anchor="t" anchorCtr="0">
          <a:noAutofit/>
        </a:bodyPr>
        <a:lstStyle/>
        <a:p>
          <a:pPr marL="0" lvl="0" indent="0" algn="l" defTabSz="1244600">
            <a:lnSpc>
              <a:spcPct val="90000"/>
            </a:lnSpc>
            <a:spcBef>
              <a:spcPct val="0"/>
            </a:spcBef>
            <a:spcAft>
              <a:spcPct val="35000"/>
            </a:spcAft>
            <a:buNone/>
          </a:pPr>
          <a:r>
            <a:rPr lang="en-US" sz="2800" kern="1200" dirty="0"/>
            <a:t>Recruiter Instruction</a:t>
          </a:r>
        </a:p>
      </dsp:txBody>
      <dsp:txXfrm>
        <a:off x="3095749" y="607735"/>
        <a:ext cx="1741850" cy="2805665"/>
      </dsp:txXfrm>
    </dsp:sp>
    <dsp:sp modelId="{446BB1F3-EBF5-47F5-9232-4C809E75DA5E}">
      <dsp:nvSpPr>
        <dsp:cNvPr id="0" name=""/>
        <dsp:cNvSpPr/>
      </dsp:nvSpPr>
      <dsp:spPr>
        <a:xfrm>
          <a:off x="5254374" y="607735"/>
          <a:ext cx="2338054" cy="2805665"/>
        </a:xfrm>
        <a:prstGeom prst="roundRect">
          <a:avLst>
            <a:gd name="adj" fmla="val 5000"/>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vert" wrap="square" lIns="0" tIns="168021" rIns="217805" bIns="0" numCol="1" spcCol="1270" anchor="t" anchorCtr="0">
          <a:noAutofit/>
        </a:bodyPr>
        <a:lstStyle/>
        <a:p>
          <a:pPr marL="0" lvl="0" indent="0" algn="r" defTabSz="2178050">
            <a:lnSpc>
              <a:spcPct val="90000"/>
            </a:lnSpc>
            <a:spcBef>
              <a:spcPct val="0"/>
            </a:spcBef>
            <a:spcAft>
              <a:spcPct val="35000"/>
            </a:spcAft>
            <a:buNone/>
          </a:pPr>
          <a:r>
            <a:rPr lang="en-US" sz="4900" kern="1200" dirty="0">
              <a:solidFill>
                <a:srgbClr val="42B0D2"/>
              </a:solidFill>
            </a:rPr>
            <a:t>3</a:t>
          </a:r>
        </a:p>
      </dsp:txBody>
      <dsp:txXfrm rot="16200000">
        <a:off x="4337857" y="1524253"/>
        <a:ext cx="2300645" cy="467610"/>
      </dsp:txXfrm>
    </dsp:sp>
    <dsp:sp modelId="{1689B49C-7F11-4C57-9F30-2993B0FF6880}">
      <dsp:nvSpPr>
        <dsp:cNvPr id="0" name=""/>
        <dsp:cNvSpPr/>
      </dsp:nvSpPr>
      <dsp:spPr>
        <a:xfrm rot="5400000">
          <a:off x="4864538" y="2656926"/>
          <a:ext cx="596702" cy="557057"/>
        </a:xfrm>
        <a:prstGeom prst="flowChartExtra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044BF8-11DC-47F8-AB06-D74F379F65A0}">
      <dsp:nvSpPr>
        <dsp:cNvPr id="0" name=""/>
        <dsp:cNvSpPr/>
      </dsp:nvSpPr>
      <dsp:spPr>
        <a:xfrm>
          <a:off x="5721985" y="607735"/>
          <a:ext cx="1741850" cy="280566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82296" rIns="0" bIns="0" numCol="1" spcCol="1270" anchor="t" anchorCtr="0">
          <a:noAutofit/>
        </a:bodyPr>
        <a:lstStyle/>
        <a:p>
          <a:pPr marL="0" lvl="0" indent="0" algn="l" defTabSz="1066800">
            <a:lnSpc>
              <a:spcPct val="90000"/>
            </a:lnSpc>
            <a:spcBef>
              <a:spcPct val="0"/>
            </a:spcBef>
            <a:spcAft>
              <a:spcPct val="35000"/>
            </a:spcAft>
            <a:buNone/>
          </a:pPr>
          <a:r>
            <a:rPr lang="en-US" sz="2400" kern="1200" dirty="0"/>
            <a:t>Recruitment of Network Members</a:t>
          </a:r>
        </a:p>
      </dsp:txBody>
      <dsp:txXfrm>
        <a:off x="5721985" y="607735"/>
        <a:ext cx="1741850" cy="2805665"/>
      </dsp:txXfrm>
    </dsp:sp>
    <dsp:sp modelId="{37A50639-6A70-410E-BA27-8C9CF9512EA9}">
      <dsp:nvSpPr>
        <dsp:cNvPr id="0" name=""/>
        <dsp:cNvSpPr/>
      </dsp:nvSpPr>
      <dsp:spPr>
        <a:xfrm>
          <a:off x="7880611" y="607735"/>
          <a:ext cx="2338054" cy="2805665"/>
        </a:xfrm>
        <a:prstGeom prst="roundRect">
          <a:avLst>
            <a:gd name="adj" fmla="val 5000"/>
          </a:avLst>
        </a:prstGeom>
        <a:solidFill>
          <a:schemeClr val="tx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vert" wrap="square" lIns="0" tIns="168021" rIns="217805" bIns="0" numCol="1" spcCol="1270" anchor="t" anchorCtr="0">
          <a:noAutofit/>
        </a:bodyPr>
        <a:lstStyle/>
        <a:p>
          <a:pPr marL="0" lvl="0" indent="0" algn="r" defTabSz="2178050">
            <a:lnSpc>
              <a:spcPct val="90000"/>
            </a:lnSpc>
            <a:spcBef>
              <a:spcPct val="0"/>
            </a:spcBef>
            <a:spcAft>
              <a:spcPct val="35000"/>
            </a:spcAft>
            <a:buNone/>
          </a:pPr>
          <a:r>
            <a:rPr lang="en-US" sz="4900" kern="1200" dirty="0">
              <a:solidFill>
                <a:srgbClr val="42B0D2"/>
              </a:solidFill>
            </a:rPr>
            <a:t>4</a:t>
          </a:r>
        </a:p>
      </dsp:txBody>
      <dsp:txXfrm rot="16200000">
        <a:off x="6964093" y="1524253"/>
        <a:ext cx="2300645" cy="467610"/>
      </dsp:txXfrm>
    </dsp:sp>
    <dsp:sp modelId="{A8FAAC3C-22DA-402A-990F-B5F55E2F64B3}">
      <dsp:nvSpPr>
        <dsp:cNvPr id="0" name=""/>
        <dsp:cNvSpPr/>
      </dsp:nvSpPr>
      <dsp:spPr>
        <a:xfrm rot="5400000">
          <a:off x="7490775" y="2656926"/>
          <a:ext cx="596702" cy="557057"/>
        </a:xfrm>
        <a:prstGeom prst="flowChartExtra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A5CD816-1F98-4621-B823-D981AB2E0114}">
      <dsp:nvSpPr>
        <dsp:cNvPr id="0" name=""/>
        <dsp:cNvSpPr/>
      </dsp:nvSpPr>
      <dsp:spPr>
        <a:xfrm>
          <a:off x="8348222" y="607735"/>
          <a:ext cx="1741850" cy="280566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82296" rIns="0" bIns="0" numCol="1" spcCol="1270" anchor="t" anchorCtr="0">
          <a:noAutofit/>
        </a:bodyPr>
        <a:lstStyle/>
        <a:p>
          <a:pPr marL="0" lvl="0" indent="0" algn="l" defTabSz="1066800">
            <a:lnSpc>
              <a:spcPct val="90000"/>
            </a:lnSpc>
            <a:spcBef>
              <a:spcPct val="0"/>
            </a:spcBef>
            <a:spcAft>
              <a:spcPct val="35000"/>
            </a:spcAft>
            <a:buNone/>
          </a:pPr>
          <a:r>
            <a:rPr lang="en-US" sz="2400" kern="1200" dirty="0"/>
            <a:t>Testing of Network Members &amp; Invitation to Become a Recruiter</a:t>
          </a:r>
        </a:p>
      </dsp:txBody>
      <dsp:txXfrm>
        <a:off x="8348222" y="607735"/>
        <a:ext cx="1741850" cy="280566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10F313-8F70-4924-8637-E71EDCF4490B}">
      <dsp:nvSpPr>
        <dsp:cNvPr id="0" name=""/>
        <dsp:cNvSpPr/>
      </dsp:nvSpPr>
      <dsp:spPr>
        <a:xfrm>
          <a:off x="0" y="565316"/>
          <a:ext cx="9594976" cy="889200"/>
        </a:xfrm>
        <a:prstGeom prst="roundRect">
          <a:avLst/>
        </a:prstGeom>
        <a:solidFill>
          <a:srgbClr val="42B0D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US" sz="3800" kern="1200"/>
            <a:t>HIV positive and/or high-risk negative</a:t>
          </a:r>
        </a:p>
      </dsp:txBody>
      <dsp:txXfrm>
        <a:off x="43407" y="608723"/>
        <a:ext cx="9508162" cy="802386"/>
      </dsp:txXfrm>
    </dsp:sp>
    <dsp:sp modelId="{585292C2-56C7-48A2-A82E-A365E9B26771}">
      <dsp:nvSpPr>
        <dsp:cNvPr id="0" name=""/>
        <dsp:cNvSpPr/>
      </dsp:nvSpPr>
      <dsp:spPr>
        <a:xfrm>
          <a:off x="0" y="1563956"/>
          <a:ext cx="9594976" cy="889200"/>
        </a:xfrm>
        <a:prstGeom prst="roundRect">
          <a:avLst/>
        </a:prstGeom>
        <a:solidFill>
          <a:srgbClr val="42B0D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US" sz="3800" kern="1200" dirty="0"/>
            <a:t>Willing to refer network members to HTS</a:t>
          </a:r>
        </a:p>
      </dsp:txBody>
      <dsp:txXfrm>
        <a:off x="43407" y="1607363"/>
        <a:ext cx="9508162" cy="802386"/>
      </dsp:txXfrm>
    </dsp:sp>
    <dsp:sp modelId="{B4BF93F0-CB8A-4F2B-AF66-F0A2793AAE0F}">
      <dsp:nvSpPr>
        <dsp:cNvPr id="0" name=""/>
        <dsp:cNvSpPr/>
      </dsp:nvSpPr>
      <dsp:spPr>
        <a:xfrm>
          <a:off x="0" y="2562596"/>
          <a:ext cx="9594976" cy="889200"/>
        </a:xfrm>
        <a:prstGeom prst="roundRect">
          <a:avLst/>
        </a:prstGeom>
        <a:solidFill>
          <a:srgbClr val="42B0D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US" sz="3800" kern="1200"/>
            <a:t>Comfortable talking about HIV</a:t>
          </a:r>
          <a:endParaRPr lang="en-US" sz="3800" kern="1200" dirty="0"/>
        </a:p>
      </dsp:txBody>
      <dsp:txXfrm>
        <a:off x="43407" y="2606003"/>
        <a:ext cx="9508162" cy="802386"/>
      </dsp:txXfrm>
    </dsp:sp>
    <dsp:sp modelId="{9B117828-01CB-4F20-9616-01B6546E6B18}">
      <dsp:nvSpPr>
        <dsp:cNvPr id="0" name=""/>
        <dsp:cNvSpPr/>
      </dsp:nvSpPr>
      <dsp:spPr>
        <a:xfrm>
          <a:off x="0" y="3561236"/>
          <a:ext cx="9594976" cy="889200"/>
        </a:xfrm>
        <a:prstGeom prst="roundRect">
          <a:avLst/>
        </a:prstGeom>
        <a:solidFill>
          <a:srgbClr val="42B0D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l" defTabSz="1689100">
            <a:lnSpc>
              <a:spcPct val="90000"/>
            </a:lnSpc>
            <a:spcBef>
              <a:spcPct val="0"/>
            </a:spcBef>
            <a:spcAft>
              <a:spcPct val="35000"/>
            </a:spcAft>
            <a:buNone/>
          </a:pPr>
          <a:r>
            <a:rPr lang="en-US" sz="3800" kern="1200" dirty="0"/>
            <a:t>Knowledgeable about HTS and testing locations</a:t>
          </a:r>
        </a:p>
      </dsp:txBody>
      <dsp:txXfrm>
        <a:off x="43407" y="3604643"/>
        <a:ext cx="9508162" cy="80238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80A3ED-3468-426F-A4FF-C9398070A3C5}">
      <dsp:nvSpPr>
        <dsp:cNvPr id="0" name=""/>
        <dsp:cNvSpPr/>
      </dsp:nvSpPr>
      <dsp:spPr>
        <a:xfrm>
          <a:off x="0" y="0"/>
          <a:ext cx="9253729" cy="148011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Brief orientation to program</a:t>
          </a:r>
        </a:p>
      </dsp:txBody>
      <dsp:txXfrm>
        <a:off x="1998757" y="0"/>
        <a:ext cx="7254971" cy="1480115"/>
      </dsp:txXfrm>
    </dsp:sp>
    <dsp:sp modelId="{94E019F3-622D-421F-83D8-2408DA1548AD}">
      <dsp:nvSpPr>
        <dsp:cNvPr id="0" name=""/>
        <dsp:cNvSpPr/>
      </dsp:nvSpPr>
      <dsp:spPr>
        <a:xfrm>
          <a:off x="148011" y="148011"/>
          <a:ext cx="1850745" cy="1184092"/>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15000" b="-1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532153-8CE6-47DF-B390-D6AFCF6AD11D}">
      <dsp:nvSpPr>
        <dsp:cNvPr id="0" name=""/>
        <dsp:cNvSpPr/>
      </dsp:nvSpPr>
      <dsp:spPr>
        <a:xfrm>
          <a:off x="0" y="1628127"/>
          <a:ext cx="9253729" cy="148011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dirty="0"/>
            <a:t>Explanation of their role as a recruiter</a:t>
          </a:r>
        </a:p>
        <a:p>
          <a:pPr marL="228600" lvl="1" indent="-228600" algn="l" defTabSz="1066800">
            <a:lnSpc>
              <a:spcPct val="90000"/>
            </a:lnSpc>
            <a:spcBef>
              <a:spcPct val="0"/>
            </a:spcBef>
            <a:spcAft>
              <a:spcPct val="15000"/>
            </a:spcAft>
            <a:buChar char="•"/>
          </a:pPr>
          <a:r>
            <a:rPr lang="en-US" sz="2400" kern="1200" dirty="0"/>
            <a:t>May include written description of role</a:t>
          </a:r>
        </a:p>
      </dsp:txBody>
      <dsp:txXfrm>
        <a:off x="1998757" y="1628127"/>
        <a:ext cx="7254971" cy="1480115"/>
      </dsp:txXfrm>
    </dsp:sp>
    <dsp:sp modelId="{A1FDE6B5-C699-4BB0-9AC9-ACB1447FD3CD}">
      <dsp:nvSpPr>
        <dsp:cNvPr id="0" name=""/>
        <dsp:cNvSpPr/>
      </dsp:nvSpPr>
      <dsp:spPr>
        <a:xfrm>
          <a:off x="148011" y="1776139"/>
          <a:ext cx="1850745" cy="1184092"/>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32000" b="-3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EC671B-B0D3-452D-BC1D-D3DD0D989B16}">
      <dsp:nvSpPr>
        <dsp:cNvPr id="0" name=""/>
        <dsp:cNvSpPr/>
      </dsp:nvSpPr>
      <dsp:spPr>
        <a:xfrm>
          <a:off x="0" y="3256255"/>
          <a:ext cx="9253729" cy="148011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Coaching on how to approach peers for HIV testing and counseling (SNS-Form A)</a:t>
          </a:r>
        </a:p>
      </dsp:txBody>
      <dsp:txXfrm>
        <a:off x="1998757" y="3256255"/>
        <a:ext cx="7254971" cy="1480115"/>
      </dsp:txXfrm>
    </dsp:sp>
    <dsp:sp modelId="{030CB5D2-3058-4D9F-A157-296254370329}">
      <dsp:nvSpPr>
        <dsp:cNvPr id="0" name=""/>
        <dsp:cNvSpPr/>
      </dsp:nvSpPr>
      <dsp:spPr>
        <a:xfrm>
          <a:off x="148011" y="3404266"/>
          <a:ext cx="1850745" cy="1184092"/>
        </a:xfrm>
        <a:prstGeom prst="roundRect">
          <a:avLst>
            <a:gd name="adj" fmla="val 10000"/>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8000" b="-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39E108-A55B-4890-8F0C-6FF2B7B8E0D6}">
      <dsp:nvSpPr>
        <dsp:cNvPr id="0" name=""/>
        <dsp:cNvSpPr/>
      </dsp:nvSpPr>
      <dsp:spPr>
        <a:xfrm>
          <a:off x="-176468" y="4859513"/>
          <a:ext cx="1037956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A3E836-B8FB-4FB2-8295-36AD28F2A820}">
      <dsp:nvSpPr>
        <dsp:cNvPr id="0" name=""/>
        <dsp:cNvSpPr/>
      </dsp:nvSpPr>
      <dsp:spPr>
        <a:xfrm>
          <a:off x="-155806" y="4160826"/>
          <a:ext cx="10379569" cy="0"/>
        </a:xfrm>
        <a:prstGeom prst="line">
          <a:avLst/>
        </a:prstGeom>
        <a:noFill/>
        <a:ln w="12700" cap="flat" cmpd="sng" algn="ctr">
          <a:solidFill>
            <a:srgbClr val="42B0D2"/>
          </a:solidFill>
          <a:prstDash val="solid"/>
          <a:miter lim="800000"/>
        </a:ln>
        <a:effectLst/>
      </dsp:spPr>
      <dsp:style>
        <a:lnRef idx="2">
          <a:scrgbClr r="0" g="0" b="0"/>
        </a:lnRef>
        <a:fillRef idx="0">
          <a:scrgbClr r="0" g="0" b="0"/>
        </a:fillRef>
        <a:effectRef idx="0">
          <a:scrgbClr r="0" g="0" b="0"/>
        </a:effectRef>
        <a:fontRef idx="minor"/>
      </dsp:style>
    </dsp:sp>
    <dsp:sp modelId="{B8A7DDFC-2448-44C9-9770-7C4B88AB8C44}">
      <dsp:nvSpPr>
        <dsp:cNvPr id="0" name=""/>
        <dsp:cNvSpPr/>
      </dsp:nvSpPr>
      <dsp:spPr>
        <a:xfrm>
          <a:off x="-148394" y="3462140"/>
          <a:ext cx="10379569" cy="0"/>
        </a:xfrm>
        <a:prstGeom prst="line">
          <a:avLst/>
        </a:prstGeom>
        <a:noFill/>
        <a:ln w="12700" cap="flat" cmpd="sng" algn="ctr">
          <a:solidFill>
            <a:srgbClr val="42B0D2"/>
          </a:solidFill>
          <a:prstDash val="solid"/>
          <a:miter lim="800000"/>
        </a:ln>
        <a:effectLst/>
      </dsp:spPr>
      <dsp:style>
        <a:lnRef idx="2">
          <a:scrgbClr r="0" g="0" b="0"/>
        </a:lnRef>
        <a:fillRef idx="0">
          <a:scrgbClr r="0" g="0" b="0"/>
        </a:fillRef>
        <a:effectRef idx="0">
          <a:scrgbClr r="0" g="0" b="0"/>
        </a:effectRef>
        <a:fontRef idx="minor"/>
      </dsp:style>
    </dsp:sp>
    <dsp:sp modelId="{EF5656B7-2B5B-4BD1-BCFF-D2A30D3D0A2A}">
      <dsp:nvSpPr>
        <dsp:cNvPr id="0" name=""/>
        <dsp:cNvSpPr/>
      </dsp:nvSpPr>
      <dsp:spPr>
        <a:xfrm>
          <a:off x="-155806" y="2763453"/>
          <a:ext cx="10379569" cy="0"/>
        </a:xfrm>
        <a:prstGeom prst="line">
          <a:avLst/>
        </a:prstGeom>
        <a:noFill/>
        <a:ln w="12700" cap="flat" cmpd="sng" algn="ctr">
          <a:solidFill>
            <a:srgbClr val="42B0D2"/>
          </a:solidFill>
          <a:prstDash val="solid"/>
          <a:miter lim="800000"/>
        </a:ln>
        <a:effectLst/>
      </dsp:spPr>
      <dsp:style>
        <a:lnRef idx="2">
          <a:scrgbClr r="0" g="0" b="0"/>
        </a:lnRef>
        <a:fillRef idx="0">
          <a:scrgbClr r="0" g="0" b="0"/>
        </a:fillRef>
        <a:effectRef idx="0">
          <a:scrgbClr r="0" g="0" b="0"/>
        </a:effectRef>
        <a:fontRef idx="minor"/>
      </dsp:style>
    </dsp:sp>
    <dsp:sp modelId="{038C2887-2FE4-495B-BB8B-24F3B2E0C7DE}">
      <dsp:nvSpPr>
        <dsp:cNvPr id="0" name=""/>
        <dsp:cNvSpPr/>
      </dsp:nvSpPr>
      <dsp:spPr>
        <a:xfrm>
          <a:off x="-169152" y="2064766"/>
          <a:ext cx="10379569" cy="0"/>
        </a:xfrm>
        <a:prstGeom prst="line">
          <a:avLst/>
        </a:prstGeom>
        <a:noFill/>
        <a:ln w="12700" cap="flat" cmpd="sng" algn="ctr">
          <a:solidFill>
            <a:srgbClr val="42B0D2"/>
          </a:solidFill>
          <a:prstDash val="solid"/>
          <a:miter lim="800000"/>
        </a:ln>
        <a:effectLst/>
      </dsp:spPr>
      <dsp:style>
        <a:lnRef idx="2">
          <a:scrgbClr r="0" g="0" b="0"/>
        </a:lnRef>
        <a:fillRef idx="0">
          <a:scrgbClr r="0" g="0" b="0"/>
        </a:fillRef>
        <a:effectRef idx="0">
          <a:scrgbClr r="0" g="0" b="0"/>
        </a:effectRef>
        <a:fontRef idx="minor"/>
      </dsp:style>
    </dsp:sp>
    <dsp:sp modelId="{C72D0695-1F9C-4458-BA65-6873FEB5D334}">
      <dsp:nvSpPr>
        <dsp:cNvPr id="0" name=""/>
        <dsp:cNvSpPr/>
      </dsp:nvSpPr>
      <dsp:spPr>
        <a:xfrm>
          <a:off x="-167174" y="1366079"/>
          <a:ext cx="10379569" cy="0"/>
        </a:xfrm>
        <a:prstGeom prst="line">
          <a:avLst/>
        </a:prstGeom>
        <a:noFill/>
        <a:ln w="12700" cap="flat" cmpd="sng" algn="ctr">
          <a:solidFill>
            <a:srgbClr val="42B0D2"/>
          </a:solidFill>
          <a:prstDash val="solid"/>
          <a:miter lim="800000"/>
        </a:ln>
        <a:effectLst/>
      </dsp:spPr>
      <dsp:style>
        <a:lnRef idx="2">
          <a:scrgbClr r="0" g="0" b="0"/>
        </a:lnRef>
        <a:fillRef idx="0">
          <a:scrgbClr r="0" g="0" b="0"/>
        </a:fillRef>
        <a:effectRef idx="0">
          <a:scrgbClr r="0" g="0" b="0"/>
        </a:effectRef>
        <a:fontRef idx="minor"/>
      </dsp:style>
    </dsp:sp>
    <dsp:sp modelId="{D63DC07A-0E55-4529-A9D0-D43BB0AB98C6}">
      <dsp:nvSpPr>
        <dsp:cNvPr id="0" name=""/>
        <dsp:cNvSpPr/>
      </dsp:nvSpPr>
      <dsp:spPr>
        <a:xfrm>
          <a:off x="-168460" y="667393"/>
          <a:ext cx="10379569" cy="0"/>
        </a:xfrm>
        <a:prstGeom prst="line">
          <a:avLst/>
        </a:prstGeom>
        <a:noFill/>
        <a:ln w="12700" cap="flat" cmpd="sng" algn="ctr">
          <a:solidFill>
            <a:srgbClr val="42B0D2"/>
          </a:solidFill>
          <a:prstDash val="solid"/>
          <a:miter lim="800000"/>
        </a:ln>
        <a:effectLst/>
      </dsp:spPr>
      <dsp:style>
        <a:lnRef idx="2">
          <a:scrgbClr r="0" g="0" b="0"/>
        </a:lnRef>
        <a:fillRef idx="0">
          <a:scrgbClr r="0" g="0" b="0"/>
        </a:fillRef>
        <a:effectRef idx="0">
          <a:scrgbClr r="0" g="0" b="0"/>
        </a:effectRef>
        <a:fontRef idx="minor"/>
      </dsp:style>
    </dsp:sp>
    <dsp:sp modelId="{830000F8-F280-4F9B-8062-35D885DD4E3D}">
      <dsp:nvSpPr>
        <dsp:cNvPr id="0" name=""/>
        <dsp:cNvSpPr/>
      </dsp:nvSpPr>
      <dsp:spPr>
        <a:xfrm>
          <a:off x="1659637" y="689"/>
          <a:ext cx="8354725" cy="6602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r>
            <a:rPr lang="en-US" sz="2000" b="1" kern="1200" dirty="0">
              <a:solidFill>
                <a:schemeClr val="tx1"/>
              </a:solidFill>
              <a:effectLst/>
            </a:rPr>
            <a:t>Identify people in your network who [insert target audience] and who may be at risk of HIV infection. 	</a:t>
          </a:r>
        </a:p>
      </dsp:txBody>
      <dsp:txXfrm>
        <a:off x="1659637" y="689"/>
        <a:ext cx="8354725" cy="660292"/>
      </dsp:txXfrm>
    </dsp:sp>
    <dsp:sp modelId="{EBAB70A7-44D3-467B-8A46-902E089E621C}">
      <dsp:nvSpPr>
        <dsp:cNvPr id="0" name=""/>
        <dsp:cNvSpPr/>
      </dsp:nvSpPr>
      <dsp:spPr>
        <a:xfrm>
          <a:off x="0" y="2362"/>
          <a:ext cx="1463849" cy="656946"/>
        </a:xfrm>
        <a:prstGeom prst="round2SameRect">
          <a:avLst>
            <a:gd name="adj1" fmla="val 16670"/>
            <a:gd name="adj2" fmla="val 0"/>
          </a:avLst>
        </a:prstGeom>
        <a:solidFill>
          <a:srgbClr val="42B0D2"/>
        </a:solidFill>
        <a:ln w="12700" cap="flat" cmpd="sng" algn="ctr">
          <a:solidFill>
            <a:schemeClr val="accent1">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effectLst>
                <a:outerShdw blurRad="38100" dist="25400" dir="5400000" algn="ctr">
                  <a:srgbClr val="6E747A">
                    <a:alpha val="43000"/>
                  </a:srgbClr>
                </a:outerShdw>
              </a:effectLst>
            </a:rPr>
            <a:t>Step 1</a:t>
          </a:r>
          <a:endParaRPr lang="en-US" sz="2800" kern="1200" dirty="0">
            <a:solidFill>
              <a:schemeClr val="bg1"/>
            </a:solidFill>
          </a:endParaRPr>
        </a:p>
      </dsp:txBody>
      <dsp:txXfrm>
        <a:off x="32075" y="34437"/>
        <a:ext cx="1399699" cy="624871"/>
      </dsp:txXfrm>
    </dsp:sp>
    <dsp:sp modelId="{CA6E0C96-1CE4-4D08-86B9-D569E1D6744A}">
      <dsp:nvSpPr>
        <dsp:cNvPr id="0" name=""/>
        <dsp:cNvSpPr/>
      </dsp:nvSpPr>
      <dsp:spPr>
        <a:xfrm>
          <a:off x="1663497" y="758068"/>
          <a:ext cx="8349579" cy="5429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r>
            <a:rPr lang="en-US" sz="2000" b="1" kern="1200" dirty="0">
              <a:solidFill>
                <a:schemeClr val="tx1"/>
              </a:solidFill>
              <a:effectLst/>
            </a:rPr>
            <a:t>Consider if these network members may be interested in receiving an HIV test if they can receive a small incentive when they get tested.	</a:t>
          </a:r>
        </a:p>
      </dsp:txBody>
      <dsp:txXfrm>
        <a:off x="1663497" y="758068"/>
        <a:ext cx="8349579" cy="542907"/>
      </dsp:txXfrm>
    </dsp:sp>
    <dsp:sp modelId="{9283B72D-007A-4BC7-A604-CB9D127F5029}">
      <dsp:nvSpPr>
        <dsp:cNvPr id="0" name=""/>
        <dsp:cNvSpPr/>
      </dsp:nvSpPr>
      <dsp:spPr>
        <a:xfrm>
          <a:off x="0" y="701048"/>
          <a:ext cx="1463849" cy="656946"/>
        </a:xfrm>
        <a:prstGeom prst="round2SameRect">
          <a:avLst>
            <a:gd name="adj1" fmla="val 16670"/>
            <a:gd name="adj2" fmla="val 0"/>
          </a:avLst>
        </a:prstGeom>
        <a:solidFill>
          <a:srgbClr val="42B0D2"/>
        </a:solidFill>
        <a:ln w="12700" cap="flat" cmpd="sng" algn="ctr">
          <a:solidFill>
            <a:schemeClr val="accent1">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effectLst>
                <a:outerShdw blurRad="38100" dist="25400" dir="5400000" algn="ctr">
                  <a:srgbClr val="6E747A">
                    <a:alpha val="43000"/>
                  </a:srgbClr>
                </a:outerShdw>
              </a:effectLst>
            </a:rPr>
            <a:t>Step 2</a:t>
          </a:r>
          <a:endParaRPr lang="en-US" sz="2800" kern="1200" dirty="0">
            <a:solidFill>
              <a:schemeClr val="bg1"/>
            </a:solidFill>
          </a:endParaRPr>
        </a:p>
      </dsp:txBody>
      <dsp:txXfrm>
        <a:off x="32075" y="733123"/>
        <a:ext cx="1399699" cy="624871"/>
      </dsp:txXfrm>
    </dsp:sp>
    <dsp:sp modelId="{9059B943-CF44-4C30-926F-91BD225D6C29}">
      <dsp:nvSpPr>
        <dsp:cNvPr id="0" name=""/>
        <dsp:cNvSpPr/>
      </dsp:nvSpPr>
      <dsp:spPr>
        <a:xfrm>
          <a:off x="1657563" y="1478769"/>
          <a:ext cx="8357490" cy="4988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r>
            <a:rPr lang="en-US" sz="2000" b="1" kern="1200" dirty="0">
              <a:solidFill>
                <a:schemeClr val="tx1"/>
              </a:solidFill>
              <a:effectLst/>
            </a:rPr>
            <a:t>You will receive referral coupons to give to them to direct them to a friendly and confidential HIV testing location.	</a:t>
          </a:r>
        </a:p>
      </dsp:txBody>
      <dsp:txXfrm>
        <a:off x="1657563" y="1478769"/>
        <a:ext cx="8357490" cy="498879"/>
      </dsp:txXfrm>
    </dsp:sp>
    <dsp:sp modelId="{7066335F-4F3F-49A2-B391-E6F9D5C92FC5}">
      <dsp:nvSpPr>
        <dsp:cNvPr id="0" name=""/>
        <dsp:cNvSpPr/>
      </dsp:nvSpPr>
      <dsp:spPr>
        <a:xfrm>
          <a:off x="0" y="1391510"/>
          <a:ext cx="1463849" cy="656946"/>
        </a:xfrm>
        <a:prstGeom prst="round2SameRect">
          <a:avLst>
            <a:gd name="adj1" fmla="val 16670"/>
            <a:gd name="adj2" fmla="val 0"/>
          </a:avLst>
        </a:prstGeom>
        <a:solidFill>
          <a:srgbClr val="42B0D2"/>
        </a:solidFill>
        <a:ln w="12700" cap="flat" cmpd="sng" algn="ctr">
          <a:solidFill>
            <a:schemeClr val="accent1">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1244600">
            <a:lnSpc>
              <a:spcPct val="90000"/>
            </a:lnSpc>
            <a:spcBef>
              <a:spcPct val="0"/>
            </a:spcBef>
            <a:spcAft>
              <a:spcPct val="35000"/>
            </a:spcAft>
            <a:buNone/>
          </a:pPr>
          <a:r>
            <a:rPr lang="en-US" sz="2800" b="1" kern="1200">
              <a:solidFill>
                <a:schemeClr val="bg1"/>
              </a:solidFill>
              <a:effectLst>
                <a:outerShdw blurRad="38100" dist="25400" dir="5400000" algn="ctr">
                  <a:srgbClr val="6E747A">
                    <a:alpha val="43000"/>
                  </a:srgbClr>
                </a:outerShdw>
              </a:effectLst>
            </a:rPr>
            <a:t>Step 3</a:t>
          </a:r>
          <a:endParaRPr lang="en-US" sz="2800" b="1" kern="1200" dirty="0">
            <a:solidFill>
              <a:schemeClr val="bg1"/>
            </a:solidFill>
            <a:effectLst/>
          </a:endParaRPr>
        </a:p>
      </dsp:txBody>
      <dsp:txXfrm>
        <a:off x="32075" y="1423585"/>
        <a:ext cx="1399699" cy="624871"/>
      </dsp:txXfrm>
    </dsp:sp>
    <dsp:sp modelId="{D62A15B1-386B-4F0F-8800-D7BA4B8136B9}">
      <dsp:nvSpPr>
        <dsp:cNvPr id="0" name=""/>
        <dsp:cNvSpPr/>
      </dsp:nvSpPr>
      <dsp:spPr>
        <a:xfrm>
          <a:off x="1655586" y="2116906"/>
          <a:ext cx="8304108" cy="6024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r>
            <a:rPr lang="en-US" sz="2000" b="1" kern="1200" dirty="0">
              <a:solidFill>
                <a:schemeClr val="tx1"/>
              </a:solidFill>
              <a:effectLst/>
            </a:rPr>
            <a:t>Tell your network member that the results of his/her HIV test will never be shared with you.</a:t>
          </a:r>
        </a:p>
      </dsp:txBody>
      <dsp:txXfrm>
        <a:off x="1655586" y="2116906"/>
        <a:ext cx="8304108" cy="602411"/>
      </dsp:txXfrm>
    </dsp:sp>
    <dsp:sp modelId="{498FD61C-77E7-439B-9D19-7D5AB459ECB9}">
      <dsp:nvSpPr>
        <dsp:cNvPr id="0" name=""/>
        <dsp:cNvSpPr/>
      </dsp:nvSpPr>
      <dsp:spPr>
        <a:xfrm>
          <a:off x="0" y="2098422"/>
          <a:ext cx="1463849" cy="656946"/>
        </a:xfrm>
        <a:prstGeom prst="round2SameRect">
          <a:avLst>
            <a:gd name="adj1" fmla="val 16670"/>
            <a:gd name="adj2" fmla="val 0"/>
          </a:avLst>
        </a:prstGeom>
        <a:solidFill>
          <a:srgbClr val="42B0D2"/>
        </a:solidFill>
        <a:ln w="12700" cap="flat" cmpd="sng" algn="ctr">
          <a:solidFill>
            <a:schemeClr val="accent1">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effectLst>
                <a:outerShdw blurRad="38100" dist="25400" dir="5400000" algn="ctr">
                  <a:srgbClr val="6E747A">
                    <a:alpha val="43000"/>
                  </a:srgbClr>
                </a:outerShdw>
              </a:effectLst>
            </a:rPr>
            <a:t>Step 4</a:t>
          </a:r>
          <a:endParaRPr lang="en-US" sz="2800" kern="1200" dirty="0">
            <a:solidFill>
              <a:schemeClr val="bg1"/>
            </a:solidFill>
          </a:endParaRPr>
        </a:p>
      </dsp:txBody>
      <dsp:txXfrm>
        <a:off x="32075" y="2130497"/>
        <a:ext cx="1399699" cy="624871"/>
      </dsp:txXfrm>
    </dsp:sp>
    <dsp:sp modelId="{2BEA2382-5F5B-4995-896E-C846C5EC6044}">
      <dsp:nvSpPr>
        <dsp:cNvPr id="0" name=""/>
        <dsp:cNvSpPr/>
      </dsp:nvSpPr>
      <dsp:spPr>
        <a:xfrm>
          <a:off x="1669296" y="2807128"/>
          <a:ext cx="8274460" cy="6369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r>
            <a:rPr lang="en-US" sz="2000" b="1" kern="1200" dirty="0">
              <a:solidFill>
                <a:schemeClr val="tx1"/>
              </a:solidFill>
              <a:effectLst/>
            </a:rPr>
            <a:t>A friendly professional can be reached by the phone number for any questions about HIV testing location or about their test results. </a:t>
          </a:r>
        </a:p>
      </dsp:txBody>
      <dsp:txXfrm>
        <a:off x="1669296" y="2807128"/>
        <a:ext cx="8274460" cy="636908"/>
      </dsp:txXfrm>
    </dsp:sp>
    <dsp:sp modelId="{1F7AC62B-0D66-4789-B05C-1C1154D5E0F8}">
      <dsp:nvSpPr>
        <dsp:cNvPr id="0" name=""/>
        <dsp:cNvSpPr/>
      </dsp:nvSpPr>
      <dsp:spPr>
        <a:xfrm>
          <a:off x="0" y="2797109"/>
          <a:ext cx="1463849" cy="656946"/>
        </a:xfrm>
        <a:prstGeom prst="round2SameRect">
          <a:avLst>
            <a:gd name="adj1" fmla="val 16670"/>
            <a:gd name="adj2" fmla="val 0"/>
          </a:avLst>
        </a:prstGeom>
        <a:solidFill>
          <a:srgbClr val="42B0D2"/>
        </a:solidFill>
        <a:ln w="12700" cap="flat" cmpd="sng" algn="ctr">
          <a:solidFill>
            <a:schemeClr val="accent1">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effectLst>
                <a:outerShdw blurRad="38100" dist="25400" dir="5400000" algn="ctr">
                  <a:srgbClr val="6E747A">
                    <a:alpha val="43000"/>
                  </a:srgbClr>
                </a:outerShdw>
              </a:effectLst>
            </a:rPr>
            <a:t>Step 5</a:t>
          </a:r>
          <a:endParaRPr lang="en-US" sz="2800" kern="1200" dirty="0">
            <a:solidFill>
              <a:schemeClr val="bg1"/>
            </a:solidFill>
          </a:endParaRPr>
        </a:p>
      </dsp:txBody>
      <dsp:txXfrm>
        <a:off x="32075" y="2829184"/>
        <a:ext cx="1399699" cy="624871"/>
      </dsp:txXfrm>
    </dsp:sp>
    <dsp:sp modelId="{6C5D2A6E-F33F-49EE-86C1-267417EA07CE}">
      <dsp:nvSpPr>
        <dsp:cNvPr id="0" name=""/>
        <dsp:cNvSpPr/>
      </dsp:nvSpPr>
      <dsp:spPr>
        <a:xfrm>
          <a:off x="1643911" y="3560852"/>
          <a:ext cx="8304108" cy="5268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r>
            <a:rPr lang="en-US" sz="2000" b="1" kern="1200" dirty="0">
              <a:solidFill>
                <a:schemeClr val="tx1"/>
              </a:solidFill>
              <a:effectLst/>
            </a:rPr>
            <a:t>Contact the HIV testing location to inquire about any referral incentives owed to you. </a:t>
          </a:r>
        </a:p>
      </dsp:txBody>
      <dsp:txXfrm>
        <a:off x="1643911" y="3560852"/>
        <a:ext cx="8304108" cy="526833"/>
      </dsp:txXfrm>
    </dsp:sp>
    <dsp:sp modelId="{25BEC446-C4D0-438F-8E1C-2935DFFF32F4}">
      <dsp:nvSpPr>
        <dsp:cNvPr id="0" name=""/>
        <dsp:cNvSpPr/>
      </dsp:nvSpPr>
      <dsp:spPr>
        <a:xfrm>
          <a:off x="0" y="3495795"/>
          <a:ext cx="1463849" cy="656946"/>
        </a:xfrm>
        <a:prstGeom prst="round2SameRect">
          <a:avLst>
            <a:gd name="adj1" fmla="val 16670"/>
            <a:gd name="adj2" fmla="val 0"/>
          </a:avLst>
        </a:prstGeom>
        <a:solidFill>
          <a:srgbClr val="42B0D2"/>
        </a:solidFill>
        <a:ln w="12700" cap="flat" cmpd="sng" algn="ctr">
          <a:solidFill>
            <a:schemeClr val="accent1">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effectLst>
                <a:outerShdw blurRad="38100" dist="25400" dir="5400000" algn="ctr">
                  <a:srgbClr val="6E747A">
                    <a:alpha val="43000"/>
                  </a:srgbClr>
                </a:outerShdw>
              </a:effectLst>
            </a:rPr>
            <a:t>Step 6</a:t>
          </a:r>
          <a:endParaRPr lang="en-US" sz="2800" kern="1200" dirty="0">
            <a:solidFill>
              <a:schemeClr val="bg1"/>
            </a:solidFill>
          </a:endParaRPr>
        </a:p>
      </dsp:txBody>
      <dsp:txXfrm>
        <a:off x="32075" y="3527870"/>
        <a:ext cx="1399699" cy="624871"/>
      </dsp:txXfrm>
    </dsp:sp>
    <dsp:sp modelId="{D4DA2991-1474-4D40-AD6C-98B9DCEB0A00}">
      <dsp:nvSpPr>
        <dsp:cNvPr id="0" name=""/>
        <dsp:cNvSpPr/>
      </dsp:nvSpPr>
      <dsp:spPr>
        <a:xfrm>
          <a:off x="1643219" y="4260232"/>
          <a:ext cx="8386754" cy="5254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r>
            <a:rPr lang="en-US" sz="2000" b="1" kern="1200" dirty="0">
              <a:solidFill>
                <a:schemeClr val="tx1"/>
              </a:solidFill>
              <a:effectLst/>
            </a:rPr>
            <a:t>Instructor: Refer to the </a:t>
          </a:r>
          <a:r>
            <a:rPr lang="en-US" sz="2000" b="1" u="sng" kern="1200" dirty="0">
              <a:solidFill>
                <a:srgbClr val="048DB8"/>
              </a:solidFill>
              <a:effectLst/>
            </a:rPr>
            <a:t>SNS Coaching Guide </a:t>
          </a:r>
          <a:r>
            <a:rPr lang="en-US" sz="2000" b="1" kern="1200" dirty="0">
              <a:solidFill>
                <a:schemeClr val="tx1"/>
              </a:solidFill>
              <a:effectLst/>
            </a:rPr>
            <a:t>for more intensive coaching to improve recruitment of high-risk network members.</a:t>
          </a:r>
          <a:endParaRPr lang="en-US" sz="2000" b="1" kern="1200" dirty="0">
            <a:solidFill>
              <a:schemeClr val="bg1"/>
            </a:solidFill>
          </a:endParaRPr>
        </a:p>
      </dsp:txBody>
      <dsp:txXfrm>
        <a:off x="1643219" y="4260232"/>
        <a:ext cx="8386754" cy="525447"/>
      </dsp:txXfrm>
    </dsp:sp>
    <dsp:sp modelId="{83888ACB-B087-40C7-BA0E-15EAE068B4F4}">
      <dsp:nvSpPr>
        <dsp:cNvPr id="0" name=""/>
        <dsp:cNvSpPr/>
      </dsp:nvSpPr>
      <dsp:spPr>
        <a:xfrm>
          <a:off x="0" y="4194482"/>
          <a:ext cx="1463849" cy="656946"/>
        </a:xfrm>
        <a:prstGeom prst="round2SameRect">
          <a:avLst>
            <a:gd name="adj1" fmla="val 16670"/>
            <a:gd name="adj2" fmla="val 0"/>
          </a:avLst>
        </a:prstGeom>
        <a:solidFill>
          <a:srgbClr val="42B0D2"/>
        </a:solidFill>
        <a:ln w="12700" cap="flat" cmpd="sng" algn="ctr">
          <a:solidFill>
            <a:schemeClr val="accent1">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effectLst>
                <a:outerShdw blurRad="38100" dist="25400" dir="5400000" algn="ctr">
                  <a:srgbClr val="6E747A">
                    <a:alpha val="43000"/>
                  </a:srgbClr>
                </a:outerShdw>
              </a:effectLst>
            </a:rPr>
            <a:t>Step 7</a:t>
          </a:r>
          <a:endParaRPr lang="en-US" sz="2800" kern="1200" dirty="0">
            <a:solidFill>
              <a:schemeClr val="bg1"/>
            </a:solidFill>
          </a:endParaRPr>
        </a:p>
      </dsp:txBody>
      <dsp:txXfrm>
        <a:off x="32075" y="4226557"/>
        <a:ext cx="1399699" cy="62487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3A8AC1-0F57-405A-87FD-29A91A5AA3F6}">
      <dsp:nvSpPr>
        <dsp:cNvPr id="0" name=""/>
        <dsp:cNvSpPr/>
      </dsp:nvSpPr>
      <dsp:spPr>
        <a:xfrm>
          <a:off x="7370552" y="3296377"/>
          <a:ext cx="699827" cy="560334"/>
        </a:xfrm>
        <a:custGeom>
          <a:avLst/>
          <a:gdLst/>
          <a:ahLst/>
          <a:cxnLst/>
          <a:rect l="0" t="0" r="0" b="0"/>
          <a:pathLst>
            <a:path>
              <a:moveTo>
                <a:pt x="0" y="0"/>
              </a:moveTo>
              <a:lnTo>
                <a:pt x="0" y="487142"/>
              </a:lnTo>
              <a:lnTo>
                <a:pt x="699827" y="487142"/>
              </a:lnTo>
              <a:lnTo>
                <a:pt x="699827" y="560334"/>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6CB2C8F-25EF-459F-963D-BD5A89A168B9}">
      <dsp:nvSpPr>
        <dsp:cNvPr id="0" name=""/>
        <dsp:cNvSpPr/>
      </dsp:nvSpPr>
      <dsp:spPr>
        <a:xfrm>
          <a:off x="6688862" y="4322930"/>
          <a:ext cx="574972" cy="635168"/>
        </a:xfrm>
        <a:custGeom>
          <a:avLst/>
          <a:gdLst/>
          <a:ahLst/>
          <a:cxnLst/>
          <a:rect l="0" t="0" r="0" b="0"/>
          <a:pathLst>
            <a:path>
              <a:moveTo>
                <a:pt x="0" y="0"/>
              </a:moveTo>
              <a:lnTo>
                <a:pt x="0" y="561976"/>
              </a:lnTo>
              <a:lnTo>
                <a:pt x="574972" y="561976"/>
              </a:lnTo>
              <a:lnTo>
                <a:pt x="574972" y="635168"/>
              </a:lnTo>
            </a:path>
          </a:pathLst>
        </a:custGeom>
        <a:noFill/>
        <a:ln w="12700" cap="flat" cmpd="sng" algn="ctr">
          <a:solidFill>
            <a:schemeClr val="tx2">
              <a:lumMod val="50000"/>
            </a:schemeClr>
          </a:solidFill>
          <a:prstDash val="solid"/>
          <a:miter lim="800000"/>
        </a:ln>
        <a:effectLst/>
      </dsp:spPr>
      <dsp:style>
        <a:lnRef idx="2">
          <a:scrgbClr r="0" g="0" b="0"/>
        </a:lnRef>
        <a:fillRef idx="0">
          <a:scrgbClr r="0" g="0" b="0"/>
        </a:fillRef>
        <a:effectRef idx="0">
          <a:scrgbClr r="0" g="0" b="0"/>
        </a:effectRef>
        <a:fontRef idx="minor"/>
      </dsp:style>
    </dsp:sp>
    <dsp:sp modelId="{13339BAD-5D6E-4950-8F70-996CFBB95628}">
      <dsp:nvSpPr>
        <dsp:cNvPr id="0" name=""/>
        <dsp:cNvSpPr/>
      </dsp:nvSpPr>
      <dsp:spPr>
        <a:xfrm>
          <a:off x="6012820" y="4322930"/>
          <a:ext cx="676041" cy="635168"/>
        </a:xfrm>
        <a:custGeom>
          <a:avLst/>
          <a:gdLst/>
          <a:ahLst/>
          <a:cxnLst/>
          <a:rect l="0" t="0" r="0" b="0"/>
          <a:pathLst>
            <a:path>
              <a:moveTo>
                <a:pt x="676041" y="0"/>
              </a:moveTo>
              <a:lnTo>
                <a:pt x="676041" y="561976"/>
              </a:lnTo>
              <a:lnTo>
                <a:pt x="0" y="561976"/>
              </a:lnTo>
              <a:lnTo>
                <a:pt x="0" y="635168"/>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45251F7-755E-4D69-85AC-512F3A134EE4}">
      <dsp:nvSpPr>
        <dsp:cNvPr id="0" name=""/>
        <dsp:cNvSpPr/>
      </dsp:nvSpPr>
      <dsp:spPr>
        <a:xfrm>
          <a:off x="6688862" y="3296377"/>
          <a:ext cx="681690" cy="558123"/>
        </a:xfrm>
        <a:custGeom>
          <a:avLst/>
          <a:gdLst/>
          <a:ahLst/>
          <a:cxnLst/>
          <a:rect l="0" t="0" r="0" b="0"/>
          <a:pathLst>
            <a:path>
              <a:moveTo>
                <a:pt x="681690" y="0"/>
              </a:moveTo>
              <a:lnTo>
                <a:pt x="681690" y="484931"/>
              </a:lnTo>
              <a:lnTo>
                <a:pt x="0" y="484931"/>
              </a:lnTo>
              <a:lnTo>
                <a:pt x="0" y="558123"/>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49D6D89-22CD-4859-B1DA-4B967962C835}">
      <dsp:nvSpPr>
        <dsp:cNvPr id="0" name=""/>
        <dsp:cNvSpPr/>
      </dsp:nvSpPr>
      <dsp:spPr>
        <a:xfrm>
          <a:off x="4425333" y="1948848"/>
          <a:ext cx="2945218" cy="879100"/>
        </a:xfrm>
        <a:custGeom>
          <a:avLst/>
          <a:gdLst/>
          <a:ahLst/>
          <a:cxnLst/>
          <a:rect l="0" t="0" r="0" b="0"/>
          <a:pathLst>
            <a:path>
              <a:moveTo>
                <a:pt x="0" y="0"/>
              </a:moveTo>
              <a:lnTo>
                <a:pt x="0" y="805908"/>
              </a:lnTo>
              <a:lnTo>
                <a:pt x="2945218" y="805908"/>
              </a:lnTo>
              <a:lnTo>
                <a:pt x="2945218" y="87910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3AA27F-1B9B-4F37-B994-6C565866B569}">
      <dsp:nvSpPr>
        <dsp:cNvPr id="0" name=""/>
        <dsp:cNvSpPr/>
      </dsp:nvSpPr>
      <dsp:spPr>
        <a:xfrm>
          <a:off x="5026080" y="3296377"/>
          <a:ext cx="689831" cy="560334"/>
        </a:xfrm>
        <a:custGeom>
          <a:avLst/>
          <a:gdLst/>
          <a:ahLst/>
          <a:cxnLst/>
          <a:rect l="0" t="0" r="0" b="0"/>
          <a:pathLst>
            <a:path>
              <a:moveTo>
                <a:pt x="0" y="0"/>
              </a:moveTo>
              <a:lnTo>
                <a:pt x="0" y="487142"/>
              </a:lnTo>
              <a:lnTo>
                <a:pt x="689831" y="487142"/>
              </a:lnTo>
              <a:lnTo>
                <a:pt x="689831" y="560334"/>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E1D6153-EF50-414B-B62D-31BAA28D2F0C}">
      <dsp:nvSpPr>
        <dsp:cNvPr id="0" name=""/>
        <dsp:cNvSpPr/>
      </dsp:nvSpPr>
      <dsp:spPr>
        <a:xfrm>
          <a:off x="4297130" y="3296377"/>
          <a:ext cx="728950" cy="556479"/>
        </a:xfrm>
        <a:custGeom>
          <a:avLst/>
          <a:gdLst/>
          <a:ahLst/>
          <a:cxnLst/>
          <a:rect l="0" t="0" r="0" b="0"/>
          <a:pathLst>
            <a:path>
              <a:moveTo>
                <a:pt x="728950" y="0"/>
              </a:moveTo>
              <a:lnTo>
                <a:pt x="728950" y="483287"/>
              </a:lnTo>
              <a:lnTo>
                <a:pt x="0" y="483287"/>
              </a:lnTo>
              <a:lnTo>
                <a:pt x="0" y="556479"/>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0A5B0A2-BF5E-4543-8028-EF35ED05C0F2}">
      <dsp:nvSpPr>
        <dsp:cNvPr id="0" name=""/>
        <dsp:cNvSpPr/>
      </dsp:nvSpPr>
      <dsp:spPr>
        <a:xfrm>
          <a:off x="4425333" y="1948848"/>
          <a:ext cx="600746" cy="879100"/>
        </a:xfrm>
        <a:custGeom>
          <a:avLst/>
          <a:gdLst/>
          <a:ahLst/>
          <a:cxnLst/>
          <a:rect l="0" t="0" r="0" b="0"/>
          <a:pathLst>
            <a:path>
              <a:moveTo>
                <a:pt x="0" y="0"/>
              </a:moveTo>
              <a:lnTo>
                <a:pt x="0" y="805908"/>
              </a:lnTo>
              <a:lnTo>
                <a:pt x="600746" y="805908"/>
              </a:lnTo>
              <a:lnTo>
                <a:pt x="600746" y="879100"/>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C8BA1B-1622-4C20-93EE-E0DD7015F347}">
      <dsp:nvSpPr>
        <dsp:cNvPr id="0" name=""/>
        <dsp:cNvSpPr/>
      </dsp:nvSpPr>
      <dsp:spPr>
        <a:xfrm>
          <a:off x="3215976" y="4315753"/>
          <a:ext cx="91440" cy="483306"/>
        </a:xfrm>
        <a:custGeom>
          <a:avLst/>
          <a:gdLst/>
          <a:ahLst/>
          <a:cxnLst/>
          <a:rect l="0" t="0" r="0" b="0"/>
          <a:pathLst>
            <a:path>
              <a:moveTo>
                <a:pt x="45720" y="0"/>
              </a:moveTo>
              <a:lnTo>
                <a:pt x="45720" y="410114"/>
              </a:lnTo>
              <a:lnTo>
                <a:pt x="50783" y="410114"/>
              </a:lnTo>
              <a:lnTo>
                <a:pt x="50783" y="483306"/>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471ED6C-96E8-4A08-A99C-5AF4EA7F39AE}">
      <dsp:nvSpPr>
        <dsp:cNvPr id="0" name=""/>
        <dsp:cNvSpPr/>
      </dsp:nvSpPr>
      <dsp:spPr>
        <a:xfrm>
          <a:off x="2051534" y="3301839"/>
          <a:ext cx="1210161" cy="545485"/>
        </a:xfrm>
        <a:custGeom>
          <a:avLst/>
          <a:gdLst/>
          <a:ahLst/>
          <a:cxnLst/>
          <a:rect l="0" t="0" r="0" b="0"/>
          <a:pathLst>
            <a:path>
              <a:moveTo>
                <a:pt x="0" y="0"/>
              </a:moveTo>
              <a:lnTo>
                <a:pt x="0" y="472293"/>
              </a:lnTo>
              <a:lnTo>
                <a:pt x="1210161" y="472293"/>
              </a:lnTo>
              <a:lnTo>
                <a:pt x="1210161" y="545485"/>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B3EF1E-FB41-4184-8548-6D7621D2A272}">
      <dsp:nvSpPr>
        <dsp:cNvPr id="0" name=""/>
        <dsp:cNvSpPr/>
      </dsp:nvSpPr>
      <dsp:spPr>
        <a:xfrm>
          <a:off x="1995869" y="3301839"/>
          <a:ext cx="91440" cy="540683"/>
        </a:xfrm>
        <a:custGeom>
          <a:avLst/>
          <a:gdLst/>
          <a:ahLst/>
          <a:cxnLst/>
          <a:rect l="0" t="0" r="0" b="0"/>
          <a:pathLst>
            <a:path>
              <a:moveTo>
                <a:pt x="55665" y="0"/>
              </a:moveTo>
              <a:lnTo>
                <a:pt x="55665" y="467491"/>
              </a:lnTo>
              <a:lnTo>
                <a:pt x="45720" y="467491"/>
              </a:lnTo>
              <a:lnTo>
                <a:pt x="45720" y="540683"/>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CE25267-C792-4756-8FC1-A6BE08FB4DA9}">
      <dsp:nvSpPr>
        <dsp:cNvPr id="0" name=""/>
        <dsp:cNvSpPr/>
      </dsp:nvSpPr>
      <dsp:spPr>
        <a:xfrm>
          <a:off x="737932" y="3301839"/>
          <a:ext cx="1313602" cy="543845"/>
        </a:xfrm>
        <a:custGeom>
          <a:avLst/>
          <a:gdLst/>
          <a:ahLst/>
          <a:cxnLst/>
          <a:rect l="0" t="0" r="0" b="0"/>
          <a:pathLst>
            <a:path>
              <a:moveTo>
                <a:pt x="1313602" y="0"/>
              </a:moveTo>
              <a:lnTo>
                <a:pt x="1313602" y="470653"/>
              </a:lnTo>
              <a:lnTo>
                <a:pt x="0" y="470653"/>
              </a:lnTo>
              <a:lnTo>
                <a:pt x="0" y="543845"/>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88E5C33-C5B4-4AD1-AF35-3C09C1B7CD84}">
      <dsp:nvSpPr>
        <dsp:cNvPr id="0" name=""/>
        <dsp:cNvSpPr/>
      </dsp:nvSpPr>
      <dsp:spPr>
        <a:xfrm>
          <a:off x="2051534" y="1948848"/>
          <a:ext cx="2373798" cy="884562"/>
        </a:xfrm>
        <a:custGeom>
          <a:avLst/>
          <a:gdLst/>
          <a:ahLst/>
          <a:cxnLst/>
          <a:rect l="0" t="0" r="0" b="0"/>
          <a:pathLst>
            <a:path>
              <a:moveTo>
                <a:pt x="2373798" y="0"/>
              </a:moveTo>
              <a:lnTo>
                <a:pt x="2373798" y="811370"/>
              </a:lnTo>
              <a:lnTo>
                <a:pt x="0" y="811370"/>
              </a:lnTo>
              <a:lnTo>
                <a:pt x="0" y="884562"/>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797478F-6FB2-47D6-B9B3-8DCD971E53BD}">
      <dsp:nvSpPr>
        <dsp:cNvPr id="0" name=""/>
        <dsp:cNvSpPr/>
      </dsp:nvSpPr>
      <dsp:spPr>
        <a:xfrm>
          <a:off x="239638" y="1948848"/>
          <a:ext cx="4185695" cy="885264"/>
        </a:xfrm>
        <a:custGeom>
          <a:avLst/>
          <a:gdLst/>
          <a:ahLst/>
          <a:cxnLst/>
          <a:rect l="0" t="0" r="0" b="0"/>
          <a:pathLst>
            <a:path>
              <a:moveTo>
                <a:pt x="4185695" y="0"/>
              </a:moveTo>
              <a:lnTo>
                <a:pt x="4185695" y="812072"/>
              </a:lnTo>
              <a:lnTo>
                <a:pt x="0" y="812072"/>
              </a:lnTo>
              <a:lnTo>
                <a:pt x="0" y="885264"/>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BBED0FB-FA92-4246-9D11-5FF45C266D25}">
      <dsp:nvSpPr>
        <dsp:cNvPr id="0" name=""/>
        <dsp:cNvSpPr/>
      </dsp:nvSpPr>
      <dsp:spPr>
        <a:xfrm>
          <a:off x="4053099" y="1237923"/>
          <a:ext cx="744469" cy="710925"/>
        </a:xfrm>
        <a:prstGeom prst="ellipse">
          <a:avLst/>
        </a:prstGeom>
        <a:solidFill>
          <a:srgbClr val="C00000"/>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588701-8098-4E6B-85E2-9DBE2E7E6DD4}">
      <dsp:nvSpPr>
        <dsp:cNvPr id="0" name=""/>
        <dsp:cNvSpPr/>
      </dsp:nvSpPr>
      <dsp:spPr>
        <a:xfrm>
          <a:off x="4088730" y="1553902"/>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4088730" y="1553902"/>
        <a:ext cx="702643" cy="468428"/>
      </dsp:txXfrm>
    </dsp:sp>
    <dsp:sp modelId="{D4E0EC67-4640-47B2-AA29-C3A1124B4314}">
      <dsp:nvSpPr>
        <dsp:cNvPr id="0" name=""/>
        <dsp:cNvSpPr/>
      </dsp:nvSpPr>
      <dsp:spPr>
        <a:xfrm>
          <a:off x="5423" y="2834113"/>
          <a:ext cx="468428" cy="468428"/>
        </a:xfrm>
        <a:prstGeom prst="ellipse">
          <a:avLst/>
        </a:prstGeom>
        <a:solidFill>
          <a:srgbClr val="191D34"/>
        </a:solidFill>
        <a:ln w="12700" cap="flat" cmpd="sng" algn="ctr">
          <a:solidFill>
            <a:srgbClr val="42B0D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1BEFA9-7A98-4DD7-9F84-E21EF8F9664C}">
      <dsp:nvSpPr>
        <dsp:cNvPr id="0" name=""/>
        <dsp:cNvSpPr/>
      </dsp:nvSpPr>
      <dsp:spPr>
        <a:xfrm>
          <a:off x="476264" y="2291134"/>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476264" y="2291134"/>
        <a:ext cx="702643" cy="468428"/>
      </dsp:txXfrm>
    </dsp:sp>
    <dsp:sp modelId="{2686FFD5-6895-4633-BE55-E22AC4B06A06}">
      <dsp:nvSpPr>
        <dsp:cNvPr id="0" name=""/>
        <dsp:cNvSpPr/>
      </dsp:nvSpPr>
      <dsp:spPr>
        <a:xfrm>
          <a:off x="1817320" y="2833410"/>
          <a:ext cx="468428" cy="468428"/>
        </a:xfrm>
        <a:prstGeom prst="ellipse">
          <a:avLst/>
        </a:prstGeom>
        <a:solidFill>
          <a:srgbClr val="212745"/>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CD0A78-708B-4E4A-8DC7-A51D2B5103D9}">
      <dsp:nvSpPr>
        <dsp:cNvPr id="0" name=""/>
        <dsp:cNvSpPr/>
      </dsp:nvSpPr>
      <dsp:spPr>
        <a:xfrm>
          <a:off x="1764444" y="2291134"/>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1764444" y="2291134"/>
        <a:ext cx="702643" cy="468428"/>
      </dsp:txXfrm>
    </dsp:sp>
    <dsp:sp modelId="{834D3748-7A07-4F49-B4FC-E806D1005EA2}">
      <dsp:nvSpPr>
        <dsp:cNvPr id="0" name=""/>
        <dsp:cNvSpPr/>
      </dsp:nvSpPr>
      <dsp:spPr>
        <a:xfrm>
          <a:off x="499870" y="3845685"/>
          <a:ext cx="476125" cy="471707"/>
        </a:xfrm>
        <a:prstGeom prst="ellipse">
          <a:avLst/>
        </a:prstGeom>
        <a:solidFill>
          <a:srgbClr val="C000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A1715A8-28BD-4D56-B993-A88A1C0EBF67}">
      <dsp:nvSpPr>
        <dsp:cNvPr id="0" name=""/>
        <dsp:cNvSpPr/>
      </dsp:nvSpPr>
      <dsp:spPr>
        <a:xfrm>
          <a:off x="478189" y="2907586"/>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478189" y="2907586"/>
        <a:ext cx="702643" cy="468428"/>
      </dsp:txXfrm>
    </dsp:sp>
    <dsp:sp modelId="{57302EFE-A3B5-4AD9-8F18-28337A6CBCFE}">
      <dsp:nvSpPr>
        <dsp:cNvPr id="0" name=""/>
        <dsp:cNvSpPr/>
      </dsp:nvSpPr>
      <dsp:spPr>
        <a:xfrm>
          <a:off x="1807374" y="3842523"/>
          <a:ext cx="468428" cy="468428"/>
        </a:xfrm>
        <a:prstGeom prst="ellipse">
          <a:avLst/>
        </a:prstGeom>
        <a:solidFill>
          <a:srgbClr val="191D34"/>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FB561B-289A-44F1-84FB-CF027A5E8C38}">
      <dsp:nvSpPr>
        <dsp:cNvPr id="0" name=""/>
        <dsp:cNvSpPr/>
      </dsp:nvSpPr>
      <dsp:spPr>
        <a:xfrm>
          <a:off x="1766368" y="2907118"/>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1766368" y="2907118"/>
        <a:ext cx="702643" cy="468428"/>
      </dsp:txXfrm>
    </dsp:sp>
    <dsp:sp modelId="{65A67265-51E9-4C1F-A170-D6E910320C63}">
      <dsp:nvSpPr>
        <dsp:cNvPr id="0" name=""/>
        <dsp:cNvSpPr/>
      </dsp:nvSpPr>
      <dsp:spPr>
        <a:xfrm>
          <a:off x="3027481" y="3847324"/>
          <a:ext cx="468428" cy="468428"/>
        </a:xfrm>
        <a:prstGeom prst="ellipse">
          <a:avLst/>
        </a:prstGeom>
        <a:solidFill>
          <a:srgbClr val="C00000"/>
        </a:solidFill>
        <a:ln w="12700" cap="flat" cmpd="sng" algn="ctr">
          <a:solidFill>
            <a:srgbClr val="212745"/>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147088-54FC-42BA-9BA1-D6CB608DA59E}">
      <dsp:nvSpPr>
        <dsp:cNvPr id="0" name=""/>
        <dsp:cNvSpPr/>
      </dsp:nvSpPr>
      <dsp:spPr>
        <a:xfrm>
          <a:off x="3054547" y="2907118"/>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3054547" y="2907118"/>
        <a:ext cx="702643" cy="468428"/>
      </dsp:txXfrm>
    </dsp:sp>
    <dsp:sp modelId="{0FBBDE83-321D-466B-B2F5-43A62EA212A7}">
      <dsp:nvSpPr>
        <dsp:cNvPr id="0" name=""/>
        <dsp:cNvSpPr/>
      </dsp:nvSpPr>
      <dsp:spPr>
        <a:xfrm>
          <a:off x="3032545" y="4799059"/>
          <a:ext cx="468428" cy="468428"/>
        </a:xfrm>
        <a:prstGeom prst="ellipse">
          <a:avLst/>
        </a:prstGeom>
        <a:solidFill>
          <a:srgbClr val="191D34"/>
        </a:solidFill>
        <a:ln w="12700" cap="flat" cmpd="sng" algn="ctr">
          <a:solidFill>
            <a:schemeClr val="bg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994E10-5596-4C97-8F3D-BA3188C6757E}">
      <dsp:nvSpPr>
        <dsp:cNvPr id="0" name=""/>
        <dsp:cNvSpPr/>
      </dsp:nvSpPr>
      <dsp:spPr>
        <a:xfrm>
          <a:off x="3054547" y="3523101"/>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3054547" y="3523101"/>
        <a:ext cx="702643" cy="468428"/>
      </dsp:txXfrm>
    </dsp:sp>
    <dsp:sp modelId="{7F41D877-1B29-4EA2-B2A7-C6C711F1193B}">
      <dsp:nvSpPr>
        <dsp:cNvPr id="0" name=""/>
        <dsp:cNvSpPr/>
      </dsp:nvSpPr>
      <dsp:spPr>
        <a:xfrm>
          <a:off x="4791865" y="2827948"/>
          <a:ext cx="468428" cy="468428"/>
        </a:xfrm>
        <a:prstGeom prst="ellipse">
          <a:avLst/>
        </a:prstGeom>
        <a:solidFill>
          <a:srgbClr val="C00000"/>
        </a:solidFill>
        <a:ln w="12700" cap="flat" cmpd="sng" algn="ctr">
          <a:solidFill>
            <a:schemeClr val="tx2">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6EA69B-776E-438C-B810-A2FB017EC415}">
      <dsp:nvSpPr>
        <dsp:cNvPr id="0" name=""/>
        <dsp:cNvSpPr/>
      </dsp:nvSpPr>
      <dsp:spPr>
        <a:xfrm>
          <a:off x="4986816" y="2291134"/>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4986816" y="2291134"/>
        <a:ext cx="702643" cy="468428"/>
      </dsp:txXfrm>
    </dsp:sp>
    <dsp:sp modelId="{753D2C21-DC26-4EE6-A9DF-832D96E9F99A}">
      <dsp:nvSpPr>
        <dsp:cNvPr id="0" name=""/>
        <dsp:cNvSpPr/>
      </dsp:nvSpPr>
      <dsp:spPr>
        <a:xfrm>
          <a:off x="4062915" y="3852857"/>
          <a:ext cx="468428" cy="468428"/>
        </a:xfrm>
        <a:prstGeom prst="ellipse">
          <a:avLst/>
        </a:prstGeom>
        <a:solidFill>
          <a:srgbClr val="191D34"/>
        </a:solidFill>
        <a:ln w="12700" cap="flat" cmpd="sng" algn="ctr">
          <a:solidFill>
            <a:srgbClr val="048DB8"/>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83F4D6C-06FD-4B01-8F3D-F85295A9573D}">
      <dsp:nvSpPr>
        <dsp:cNvPr id="0" name=""/>
        <dsp:cNvSpPr/>
      </dsp:nvSpPr>
      <dsp:spPr>
        <a:xfrm>
          <a:off x="4342726" y="2907118"/>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4342726" y="2907118"/>
        <a:ext cx="702643" cy="468428"/>
      </dsp:txXfrm>
    </dsp:sp>
    <dsp:sp modelId="{874402B0-94B3-4065-8308-A5470222B684}">
      <dsp:nvSpPr>
        <dsp:cNvPr id="0" name=""/>
        <dsp:cNvSpPr/>
      </dsp:nvSpPr>
      <dsp:spPr>
        <a:xfrm>
          <a:off x="5481697" y="3856712"/>
          <a:ext cx="468428" cy="468428"/>
        </a:xfrm>
        <a:prstGeom prst="ellipse">
          <a:avLst/>
        </a:prstGeom>
        <a:solidFill>
          <a:srgbClr val="191D34"/>
        </a:solidFill>
        <a:ln w="12700" cap="flat" cmpd="sng" algn="ctr">
          <a:solidFill>
            <a:srgbClr val="42B0D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64E1DD-8598-4FA2-8AC3-FB9970112159}">
      <dsp:nvSpPr>
        <dsp:cNvPr id="0" name=""/>
        <dsp:cNvSpPr/>
      </dsp:nvSpPr>
      <dsp:spPr>
        <a:xfrm>
          <a:off x="5630906" y="2907118"/>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5630906" y="2907118"/>
        <a:ext cx="702643" cy="468428"/>
      </dsp:txXfrm>
    </dsp:sp>
    <dsp:sp modelId="{96754964-2F62-4DB9-9EB1-0CDB9E8A529B}">
      <dsp:nvSpPr>
        <dsp:cNvPr id="0" name=""/>
        <dsp:cNvSpPr/>
      </dsp:nvSpPr>
      <dsp:spPr>
        <a:xfrm>
          <a:off x="7136338" y="2827948"/>
          <a:ext cx="468428" cy="468428"/>
        </a:xfrm>
        <a:prstGeom prst="ellipse">
          <a:avLst/>
        </a:prstGeom>
        <a:solidFill>
          <a:srgbClr val="C00000"/>
        </a:solidFill>
        <a:ln w="12700" cap="flat" cmpd="sng" algn="ctr">
          <a:solidFill>
            <a:srgbClr val="212745"/>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43EDE38-C212-4FBA-BEB7-B5D48818C3FC}">
      <dsp:nvSpPr>
        <dsp:cNvPr id="0" name=""/>
        <dsp:cNvSpPr/>
      </dsp:nvSpPr>
      <dsp:spPr>
        <a:xfrm>
          <a:off x="7563175" y="2291134"/>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7563175" y="2291134"/>
        <a:ext cx="702643" cy="468428"/>
      </dsp:txXfrm>
    </dsp:sp>
    <dsp:sp modelId="{AD75A403-E368-433A-9486-10D865EDEFE4}">
      <dsp:nvSpPr>
        <dsp:cNvPr id="0" name=""/>
        <dsp:cNvSpPr/>
      </dsp:nvSpPr>
      <dsp:spPr>
        <a:xfrm>
          <a:off x="6454647" y="3854501"/>
          <a:ext cx="468428" cy="468428"/>
        </a:xfrm>
        <a:prstGeom prst="ellipse">
          <a:avLst/>
        </a:prstGeom>
        <a:solidFill>
          <a:srgbClr val="C00000"/>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CFDDD5-DF30-4E56-B3C4-E86E7F5F3908}">
      <dsp:nvSpPr>
        <dsp:cNvPr id="0" name=""/>
        <dsp:cNvSpPr/>
      </dsp:nvSpPr>
      <dsp:spPr>
        <a:xfrm>
          <a:off x="6919085" y="2907118"/>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6919085" y="2907118"/>
        <a:ext cx="702643" cy="468428"/>
      </dsp:txXfrm>
    </dsp:sp>
    <dsp:sp modelId="{3C9360C0-8178-4641-B423-265F61D6A8AD}">
      <dsp:nvSpPr>
        <dsp:cNvPr id="0" name=""/>
        <dsp:cNvSpPr/>
      </dsp:nvSpPr>
      <dsp:spPr>
        <a:xfrm>
          <a:off x="5778606" y="4958098"/>
          <a:ext cx="468428" cy="468428"/>
        </a:xfrm>
        <a:prstGeom prst="ellipse">
          <a:avLst/>
        </a:prstGeom>
        <a:solidFill>
          <a:srgbClr val="191D34"/>
        </a:solidFill>
        <a:ln w="12700" cap="flat" cmpd="sng" algn="ctr">
          <a:solidFill>
            <a:srgbClr val="42B0D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DF8765B-E162-4CA1-85C6-2C8C7C62FCC5}">
      <dsp:nvSpPr>
        <dsp:cNvPr id="0" name=""/>
        <dsp:cNvSpPr/>
      </dsp:nvSpPr>
      <dsp:spPr>
        <a:xfrm>
          <a:off x="6274995" y="3523101"/>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6274995" y="3523101"/>
        <a:ext cx="702643" cy="468428"/>
      </dsp:txXfrm>
    </dsp:sp>
    <dsp:sp modelId="{2578853F-CA79-41F2-A8A9-E9015C4CDE74}">
      <dsp:nvSpPr>
        <dsp:cNvPr id="0" name=""/>
        <dsp:cNvSpPr/>
      </dsp:nvSpPr>
      <dsp:spPr>
        <a:xfrm>
          <a:off x="7029620" y="4958098"/>
          <a:ext cx="468428" cy="468428"/>
        </a:xfrm>
        <a:prstGeom prst="ellipse">
          <a:avLst/>
        </a:prstGeom>
        <a:solidFill>
          <a:srgbClr val="C00000"/>
        </a:solid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BCB797-AC0C-4CAF-A878-CBD478F1415E}">
      <dsp:nvSpPr>
        <dsp:cNvPr id="0" name=""/>
        <dsp:cNvSpPr/>
      </dsp:nvSpPr>
      <dsp:spPr>
        <a:xfrm>
          <a:off x="7563175" y="3523101"/>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7563175" y="3523101"/>
        <a:ext cx="702643" cy="468428"/>
      </dsp:txXfrm>
    </dsp:sp>
    <dsp:sp modelId="{D277EFF2-2A12-4953-9C7D-12E06E2C991A}">
      <dsp:nvSpPr>
        <dsp:cNvPr id="0" name=""/>
        <dsp:cNvSpPr/>
      </dsp:nvSpPr>
      <dsp:spPr>
        <a:xfrm>
          <a:off x="7836165" y="3856712"/>
          <a:ext cx="468428" cy="468428"/>
        </a:xfrm>
        <a:prstGeom prst="ellipse">
          <a:avLst/>
        </a:prstGeom>
        <a:solidFill>
          <a:srgbClr val="191D34"/>
        </a:solidFill>
        <a:ln w="12700" cap="flat" cmpd="sng" algn="ctr">
          <a:solidFill>
            <a:srgbClr val="42B0D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3CC4D2-9C97-4FB1-8BCA-F2FE537709ED}">
      <dsp:nvSpPr>
        <dsp:cNvPr id="0" name=""/>
        <dsp:cNvSpPr/>
      </dsp:nvSpPr>
      <dsp:spPr>
        <a:xfrm>
          <a:off x="8207264" y="2907118"/>
          <a:ext cx="702643" cy="4684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endParaRPr lang="en-US" sz="2200" kern="1200" dirty="0"/>
        </a:p>
      </dsp:txBody>
      <dsp:txXfrm>
        <a:off x="8207264" y="2907118"/>
        <a:ext cx="702643" cy="46842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80A3ED-3468-426F-A4FF-C9398070A3C5}">
      <dsp:nvSpPr>
        <dsp:cNvPr id="0" name=""/>
        <dsp:cNvSpPr/>
      </dsp:nvSpPr>
      <dsp:spPr>
        <a:xfrm>
          <a:off x="0" y="0"/>
          <a:ext cx="8594725" cy="1011346"/>
        </a:xfrm>
        <a:prstGeom prst="roundRect">
          <a:avLst>
            <a:gd name="adj" fmla="val 10000"/>
          </a:avLst>
        </a:prstGeom>
        <a:solidFill>
          <a:srgbClr val="42B0D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Conduct rapid HIV test</a:t>
          </a:r>
        </a:p>
      </dsp:txBody>
      <dsp:txXfrm>
        <a:off x="1820079" y="0"/>
        <a:ext cx="6774645" cy="1011346"/>
      </dsp:txXfrm>
    </dsp:sp>
    <dsp:sp modelId="{94E019F3-622D-421F-83D8-2408DA1548AD}">
      <dsp:nvSpPr>
        <dsp:cNvPr id="0" name=""/>
        <dsp:cNvSpPr/>
      </dsp:nvSpPr>
      <dsp:spPr>
        <a:xfrm>
          <a:off x="101134" y="101134"/>
          <a:ext cx="1718945" cy="809076"/>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000" b="-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532153-8CE6-47DF-B390-D6AFCF6AD11D}">
      <dsp:nvSpPr>
        <dsp:cNvPr id="0" name=""/>
        <dsp:cNvSpPr/>
      </dsp:nvSpPr>
      <dsp:spPr>
        <a:xfrm>
          <a:off x="0" y="1112480"/>
          <a:ext cx="8594725" cy="101134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If positive, link to HIV care and treatment</a:t>
          </a:r>
        </a:p>
      </dsp:txBody>
      <dsp:txXfrm>
        <a:off x="1820079" y="1112480"/>
        <a:ext cx="6774645" cy="1011346"/>
      </dsp:txXfrm>
    </dsp:sp>
    <dsp:sp modelId="{A1FDE6B5-C699-4BB0-9AC9-ACB1447FD3CD}">
      <dsp:nvSpPr>
        <dsp:cNvPr id="0" name=""/>
        <dsp:cNvSpPr/>
      </dsp:nvSpPr>
      <dsp:spPr>
        <a:xfrm>
          <a:off x="101134" y="1213615"/>
          <a:ext cx="1718945" cy="809076"/>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17000" b="-1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869D271-481F-44BD-AFB7-1077345633E4}">
      <dsp:nvSpPr>
        <dsp:cNvPr id="0" name=""/>
        <dsp:cNvSpPr/>
      </dsp:nvSpPr>
      <dsp:spPr>
        <a:xfrm>
          <a:off x="0" y="2224961"/>
          <a:ext cx="8594725" cy="101134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en-US" sz="2700" kern="1200" dirty="0"/>
            <a:t>If negative, offer HIV counseling and prevention services as indicated (e.g. condoms, lube, </a:t>
          </a:r>
          <a:r>
            <a:rPr lang="en-US" sz="2700" kern="1200" dirty="0" err="1"/>
            <a:t>PrEP</a:t>
          </a:r>
          <a:r>
            <a:rPr lang="en-US" sz="2700" kern="1200" dirty="0"/>
            <a:t>, etc.)</a:t>
          </a:r>
        </a:p>
      </dsp:txBody>
      <dsp:txXfrm>
        <a:off x="1820079" y="2224961"/>
        <a:ext cx="6774645" cy="1011346"/>
      </dsp:txXfrm>
    </dsp:sp>
    <dsp:sp modelId="{B225CBC0-1E87-424D-AA60-3B2137374938}">
      <dsp:nvSpPr>
        <dsp:cNvPr id="0" name=""/>
        <dsp:cNvSpPr/>
      </dsp:nvSpPr>
      <dsp:spPr>
        <a:xfrm>
          <a:off x="101134" y="2326096"/>
          <a:ext cx="1718945" cy="809076"/>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4000" b="-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EC671B-B0D3-452D-BC1D-D3DD0D989B16}">
      <dsp:nvSpPr>
        <dsp:cNvPr id="0" name=""/>
        <dsp:cNvSpPr/>
      </dsp:nvSpPr>
      <dsp:spPr>
        <a:xfrm>
          <a:off x="0" y="3337442"/>
          <a:ext cx="8594725" cy="101134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dirty="0"/>
            <a:t>Offer high-risk members opportunity to recruit their social, drug-using, and sexual network members for HTS</a:t>
          </a:r>
        </a:p>
      </dsp:txBody>
      <dsp:txXfrm>
        <a:off x="1820079" y="3337442"/>
        <a:ext cx="6774645" cy="1011346"/>
      </dsp:txXfrm>
    </dsp:sp>
    <dsp:sp modelId="{030CB5D2-3058-4D9F-A157-296254370329}">
      <dsp:nvSpPr>
        <dsp:cNvPr id="0" name=""/>
        <dsp:cNvSpPr/>
      </dsp:nvSpPr>
      <dsp:spPr>
        <a:xfrm>
          <a:off x="101134" y="3438576"/>
          <a:ext cx="1718945" cy="809076"/>
        </a:xfrm>
        <a:prstGeom prst="roundRect">
          <a:avLst>
            <a:gd name="adj" fmla="val 10000"/>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t="-8000" b="-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AEC717-BFC2-4772-867C-311A97A5409C}" type="datetimeFigureOut">
              <a:rPr lang="en-US" smtClean="0"/>
              <a:t>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FA283D-D5EF-4B25-8C33-765C97800316}" type="slidenum">
              <a:rPr lang="en-US" smtClean="0"/>
              <a:t>‹#›</a:t>
            </a:fld>
            <a:endParaRPr lang="en-US"/>
          </a:p>
        </p:txBody>
      </p:sp>
    </p:spTree>
    <p:extLst>
      <p:ext uri="{BB962C8B-B14F-4D97-AF65-F5344CB8AC3E}">
        <p14:creationId xmlns:p14="http://schemas.microsoft.com/office/powerpoint/2010/main" val="9372698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8"/>
        <p:cNvGrpSpPr/>
        <p:nvPr/>
      </p:nvGrpSpPr>
      <p:grpSpPr>
        <a:xfrm>
          <a:off x="0" y="0"/>
          <a:ext cx="0" cy="0"/>
          <a:chOff x="0" y="0"/>
          <a:chExt cx="0" cy="0"/>
        </a:xfrm>
      </p:grpSpPr>
      <p:sp>
        <p:nvSpPr>
          <p:cNvPr id="489" name="Google Shape;489;p2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90" name="Google Shape;490;p2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ase</a:t>
            </a:r>
            <a:r>
              <a:rPr lang="en-US" baseline="0" dirty="0"/>
              <a:t> 3 is the actual recruitment of network members by recruiters. As shown here, recruitment starts with an HIV-positive person who recruits 4 network members. Both HIV-positive and HIV-negative clients are given coupons to recruit. Recruitment and testing are incentivized to drive the recruitment and testing process.</a:t>
            </a:r>
          </a:p>
        </p:txBody>
      </p:sp>
      <p:sp>
        <p:nvSpPr>
          <p:cNvPr id="4" name="Slide Number Placeholder 3"/>
          <p:cNvSpPr>
            <a:spLocks noGrp="1"/>
          </p:cNvSpPr>
          <p:nvPr>
            <p:ph type="sldNum" sz="quarter" idx="10"/>
          </p:nvPr>
        </p:nvSpPr>
        <p:spPr/>
        <p:txBody>
          <a:bodyPr/>
          <a:lstStyle/>
          <a:p>
            <a:fld id="{5C7971BC-17B4-41AC-B919-720FEC275B0D}" type="slidenum">
              <a:rPr lang="en-US" smtClean="0"/>
              <a:t>32</a:t>
            </a:fld>
            <a:endParaRPr lang="en-US"/>
          </a:p>
        </p:txBody>
      </p:sp>
    </p:spTree>
    <p:extLst>
      <p:ext uri="{BB962C8B-B14F-4D97-AF65-F5344CB8AC3E}">
        <p14:creationId xmlns:p14="http://schemas.microsoft.com/office/powerpoint/2010/main" val="41506552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ourth</a:t>
            </a:r>
            <a:r>
              <a:rPr lang="en-US" baseline="0" dirty="0"/>
              <a:t> and final phase involves testing network members and offering them the opportunity to recruit members of their network for HIV testing. In this phase:</a:t>
            </a:r>
          </a:p>
          <a:p>
            <a:endParaRPr lang="en-US" baseline="0" dirty="0"/>
          </a:p>
          <a:p>
            <a:pPr marL="285750" lvl="0" indent="-285750">
              <a:buFont typeface="Arial" panose="020B0604020202020204" pitchFamily="34" charset="0"/>
              <a:buChar char="•"/>
            </a:pPr>
            <a:r>
              <a:rPr lang="en-US" sz="1400" kern="1200" baseline="0" dirty="0">
                <a:solidFill>
                  <a:schemeClr val="tx1"/>
                </a:solidFill>
                <a:latin typeface="+mn-lt"/>
                <a:ea typeface="+mn-ea"/>
                <a:cs typeface="+mn-cs"/>
              </a:rPr>
              <a:t>A r</a:t>
            </a:r>
            <a:r>
              <a:rPr lang="en-US" sz="1400" kern="1200" dirty="0">
                <a:solidFill>
                  <a:schemeClr val="tx1"/>
                </a:solidFill>
                <a:latin typeface="+mn-lt"/>
                <a:ea typeface="+mn-ea"/>
                <a:cs typeface="+mn-cs"/>
              </a:rPr>
              <a:t>apid HIV test is conducted</a:t>
            </a:r>
          </a:p>
          <a:p>
            <a:pPr marL="285750" lvl="0" indent="-285750">
              <a:buFont typeface="Arial" panose="020B0604020202020204" pitchFamily="34" charset="0"/>
              <a:buChar char="•"/>
            </a:pPr>
            <a:r>
              <a:rPr lang="en-US" sz="1400" kern="1200" dirty="0">
                <a:solidFill>
                  <a:schemeClr val="tx1"/>
                </a:solidFill>
                <a:latin typeface="+mn-lt"/>
                <a:ea typeface="+mn-ea"/>
                <a:cs typeface="+mn-cs"/>
              </a:rPr>
              <a:t>If </a:t>
            </a:r>
            <a:r>
              <a:rPr lang="en-US" sz="1400" dirty="0"/>
              <a:t>positive, link to HIV care and treatment</a:t>
            </a:r>
          </a:p>
          <a:p>
            <a:pPr marL="171450" lvl="0" indent="-171450">
              <a:buFont typeface="Arial" panose="020B0604020202020204" pitchFamily="34" charset="0"/>
              <a:buChar char="•"/>
            </a:pPr>
            <a:r>
              <a:rPr lang="en-US" sz="1200" dirty="0"/>
              <a:t>If negative, offer HIV counseling and prevention services as indicated (e.g. condoms, lube, PrEP, etc.)</a:t>
            </a:r>
          </a:p>
          <a:p>
            <a:pPr marL="171450" lvl="0" indent="-171450">
              <a:buFont typeface="Arial" panose="020B0604020202020204" pitchFamily="34" charset="0"/>
              <a:buChar char="•"/>
            </a:pPr>
            <a:r>
              <a:rPr lang="en-US" sz="1200" dirty="0"/>
              <a:t>Lastly,</a:t>
            </a:r>
            <a:r>
              <a:rPr lang="en-US" sz="1200" baseline="0" dirty="0"/>
              <a:t> you should o</a:t>
            </a:r>
            <a:r>
              <a:rPr lang="en-US" sz="1200" dirty="0"/>
              <a:t>ffer high-risk members opportunity to recruit their social and sexual network members for HTS and the cycle</a:t>
            </a:r>
            <a:r>
              <a:rPr lang="en-US" sz="1200" baseline="0" dirty="0"/>
              <a:t> continues.</a:t>
            </a:r>
            <a:endParaRPr lang="en-US" sz="1200" dirty="0"/>
          </a:p>
        </p:txBody>
      </p:sp>
      <p:sp>
        <p:nvSpPr>
          <p:cNvPr id="4" name="Slide Number Placeholder 3"/>
          <p:cNvSpPr>
            <a:spLocks noGrp="1"/>
          </p:cNvSpPr>
          <p:nvPr>
            <p:ph type="sldNum" sz="quarter" idx="10"/>
          </p:nvPr>
        </p:nvSpPr>
        <p:spPr/>
        <p:txBody>
          <a:bodyPr/>
          <a:lstStyle/>
          <a:p>
            <a:fld id="{5C7971BC-17B4-41AC-B919-720FEC275B0D}" type="slidenum">
              <a:rPr lang="en-US" smtClean="0"/>
              <a:t>33</a:t>
            </a:fld>
            <a:endParaRPr lang="en-US"/>
          </a:p>
        </p:txBody>
      </p:sp>
    </p:spTree>
    <p:extLst>
      <p:ext uri="{BB962C8B-B14F-4D97-AF65-F5344CB8AC3E}">
        <p14:creationId xmlns:p14="http://schemas.microsoft.com/office/powerpoint/2010/main" val="3885946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a:t>
            </a:r>
            <a:r>
              <a:rPr lang="en-US" baseline="0" dirty="0"/>
              <a:t> concerns that have been raised regarding SNS, and we want to address them here. </a:t>
            </a:r>
          </a:p>
          <a:p>
            <a:pPr marL="285750" indent="-285750">
              <a:buFont typeface="Arial" panose="020B0604020202020204" pitchFamily="34" charset="0"/>
              <a:buChar char="•"/>
            </a:pPr>
            <a:r>
              <a:rPr lang="en-US" baseline="0" dirty="0"/>
              <a:t>1. Some have raised the concern that the incentive may be coercive. Programs should know that </a:t>
            </a:r>
            <a:r>
              <a:rPr lang="en-US" sz="1200" baseline="0" dirty="0">
                <a:solidFill>
                  <a:sysClr val="windowText" lastClr="000000"/>
                </a:solidFill>
              </a:rPr>
              <a:t>this has not been reported this as a significant issue. Moreover, f</a:t>
            </a:r>
            <a:r>
              <a:rPr lang="en-US" sz="1200" dirty="0">
                <a:solidFill>
                  <a:sysClr val="windowText" lastClr="000000"/>
                </a:solidFill>
              </a:rPr>
              <a:t>ormative</a:t>
            </a:r>
            <a:r>
              <a:rPr lang="en-US" sz="1200" baseline="0" dirty="0">
                <a:solidFill>
                  <a:sysClr val="windowText" lastClr="000000"/>
                </a:solidFill>
              </a:rPr>
              <a:t> research and piloting can identify value of incentive that represents ‘nudge’ from inaction to action, not coercion. Also, incentives should be smal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ysClr val="windowText" lastClr="000000"/>
                </a:solidFill>
              </a:rPr>
              <a:t>2. The issue of long-term sustainability of offering incentives has been raised also. We remind you that i</a:t>
            </a:r>
            <a:r>
              <a:rPr lang="en-US" sz="1200" dirty="0">
                <a:solidFill>
                  <a:sysClr val="windowText" lastClr="000000"/>
                </a:solidFill>
              </a:rPr>
              <a:t>ncentives should be small.</a:t>
            </a:r>
            <a:r>
              <a:rPr lang="en-US" sz="1200" baseline="0" dirty="0">
                <a:solidFill>
                  <a:sysClr val="windowText" lastClr="000000"/>
                </a:solidFill>
              </a:rPr>
              <a:t> Additionally, programs can use a lottery-based system where successful recruitment earns a raffle ticket to regularly awarded prize. Previous programs have used food, transportation, or phone vouchers, personal hygiene kits, make-up kits, childcare services, or promotional products as incentives. Also, case finding can be a short term strategy until yield and/or new recruits drop.</a:t>
            </a:r>
          </a:p>
          <a:p>
            <a:pPr marL="285750" indent="-285750">
              <a:buFont typeface="Arial" panose="020B0604020202020204" pitchFamily="34" charset="0"/>
              <a:buChar char="•"/>
            </a:pPr>
            <a:r>
              <a:rPr lang="en-US" sz="1200" baseline="0" dirty="0">
                <a:solidFill>
                  <a:sysClr val="windowText" lastClr="000000"/>
                </a:solidFill>
              </a:rPr>
              <a:t>3. Regarding the concern of repeat participants, unique identifiers or biometric devices can be used to prevent repeats. Also, staff should be training to record physical marks or descriptions of participants in order to reduce repeats</a:t>
            </a:r>
          </a:p>
          <a:p>
            <a:pPr marL="285750" indent="-285750">
              <a:buFont typeface="Arial" panose="020B0604020202020204" pitchFamily="34" charset="0"/>
              <a:buChar char="•"/>
            </a:pPr>
            <a:r>
              <a:rPr lang="en-US" sz="1200" baseline="0" dirty="0">
                <a:solidFill>
                  <a:sysClr val="windowText" lastClr="000000"/>
                </a:solidFill>
              </a:rPr>
              <a:t>4. Lastly, regarding HIV confidentiality, recruiters should told that HIV statuses are not shared incentives are not offered based on HIV status of the recruit.</a:t>
            </a:r>
          </a:p>
          <a:p>
            <a:pPr marL="0" indent="0">
              <a:buFont typeface="Arial" panose="020B0604020202020204" pitchFamily="34" charset="0"/>
              <a:buNone/>
            </a:pPr>
            <a:endParaRPr lang="en-US" sz="1200" dirty="0">
              <a:solidFill>
                <a:sysClr val="windowText" lastClr="000000"/>
              </a:solidFill>
            </a:endParaRPr>
          </a:p>
        </p:txBody>
      </p:sp>
      <p:sp>
        <p:nvSpPr>
          <p:cNvPr id="4" name="Slide Number Placeholder 3"/>
          <p:cNvSpPr>
            <a:spLocks noGrp="1"/>
          </p:cNvSpPr>
          <p:nvPr>
            <p:ph type="sldNum" sz="quarter" idx="5"/>
          </p:nvPr>
        </p:nvSpPr>
        <p:spPr/>
        <p:txBody>
          <a:bodyPr/>
          <a:lstStyle/>
          <a:p>
            <a:fld id="{5C7971BC-17B4-41AC-B919-720FEC275B0D}" type="slidenum">
              <a:rPr lang="en-US" smtClean="0"/>
              <a:t>34</a:t>
            </a:fld>
            <a:endParaRPr lang="en-US"/>
          </a:p>
        </p:txBody>
      </p:sp>
    </p:spTree>
    <p:extLst>
      <p:ext uri="{BB962C8B-B14F-4D97-AF65-F5344CB8AC3E}">
        <p14:creationId xmlns:p14="http://schemas.microsoft.com/office/powerpoint/2010/main" val="2197098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63BF2D-3C17-4073-803E-636B427927CB}" type="slidenum">
              <a:rPr lang="en-US" smtClean="0"/>
              <a:t>11</a:t>
            </a:fld>
            <a:endParaRPr lang="en-US"/>
          </a:p>
        </p:txBody>
      </p:sp>
    </p:spTree>
    <p:extLst>
      <p:ext uri="{BB962C8B-B14F-4D97-AF65-F5344CB8AC3E}">
        <p14:creationId xmlns:p14="http://schemas.microsoft.com/office/powerpoint/2010/main" val="1739209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o, what is social network strategy? It is a case-finding strategy that </a:t>
            </a:r>
            <a:r>
              <a:rPr lang="en-US" b="0" dirty="0"/>
              <a:t>uses </a:t>
            </a:r>
            <a:r>
              <a:rPr lang="en-US" dirty="0"/>
              <a:t>social network connections to </a:t>
            </a:r>
            <a:r>
              <a:rPr lang="en-US" dirty="0">
                <a:solidFill>
                  <a:srgbClr val="42B0D2"/>
                </a:solidFill>
              </a:rPr>
              <a:t>locate individuals at the highest risk for </a:t>
            </a:r>
            <a:r>
              <a:rPr lang="en-US" i="0" dirty="0">
                <a:solidFill>
                  <a:srgbClr val="42B0D2"/>
                </a:solidFill>
              </a:rPr>
              <a:t>HIV.</a:t>
            </a:r>
            <a:endParaRPr lang="en-US" baseline="0" dirty="0"/>
          </a:p>
          <a:p>
            <a:endParaRPr lang="en-US" baseline="0" dirty="0"/>
          </a:p>
          <a:p>
            <a:r>
              <a:rPr lang="en-US" baseline="0" dirty="0"/>
              <a:t>It has been used to find new HIV cases among populations who have difficulty accessing HIV testing services (e.g., key populations). It has also been used to find previously diagnosed individuals who were out of care, and who may then be linked to ART for the first time or re-engaged in ART services (e.g., Ukraine’s Optimized Case Finding).  </a:t>
            </a:r>
            <a:endParaRPr lang="en-US" dirty="0"/>
          </a:p>
        </p:txBody>
      </p:sp>
      <p:sp>
        <p:nvSpPr>
          <p:cNvPr id="4" name="Slide Number Placeholder 3"/>
          <p:cNvSpPr>
            <a:spLocks noGrp="1"/>
          </p:cNvSpPr>
          <p:nvPr>
            <p:ph type="sldNum" sz="quarter" idx="10"/>
          </p:nvPr>
        </p:nvSpPr>
        <p:spPr/>
        <p:txBody>
          <a:bodyPr/>
          <a:lstStyle/>
          <a:p>
            <a:fld id="{5C7971BC-17B4-41AC-B919-720FEC275B0D}" type="slidenum">
              <a:rPr lang="en-US" smtClean="0"/>
              <a:t>24</a:t>
            </a:fld>
            <a:endParaRPr lang="en-US"/>
          </a:p>
        </p:txBody>
      </p:sp>
    </p:spTree>
    <p:extLst>
      <p:ext uri="{BB962C8B-B14F-4D97-AF65-F5344CB8AC3E}">
        <p14:creationId xmlns:p14="http://schemas.microsoft.com/office/powerpoint/2010/main" val="1727629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underlying</a:t>
            </a:r>
            <a:r>
              <a:rPr lang="en-US" baseline="0" dirty="0"/>
              <a:t> assumption of SNS is </a:t>
            </a:r>
            <a:r>
              <a:rPr lang="en-US" b="0" baseline="0" dirty="0"/>
              <a:t>that p</a:t>
            </a:r>
            <a:r>
              <a:rPr lang="en-US" b="0" dirty="0"/>
              <a:t>eople in the same social network share similar risk behaviors for HIV.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US" baseline="0" dirty="0"/>
              <a:t>The overall strategy is to enlist HIV-positive and high-risk, HIV-negative persons to recruit individuals from their social, sexual, and drug-using networks for HIV testing services. Once recruited and tested, network members become recruiters and refer members of their networks for testing. This process continues, creating chains of recruitment that can penetrate hidden networks.</a:t>
            </a:r>
          </a:p>
          <a:p>
            <a:endParaRPr lang="en-US" baseline="0" dirty="0"/>
          </a:p>
          <a:p>
            <a:r>
              <a:rPr lang="en-US" baseline="0" dirty="0"/>
              <a:t>SNS is sometimes distinguished from index partner testing through the use of a small reward or incentive, which could be monetary or non-monetary, and the use of recruitment coupons.</a:t>
            </a:r>
          </a:p>
        </p:txBody>
      </p:sp>
      <p:sp>
        <p:nvSpPr>
          <p:cNvPr id="4" name="Slide Number Placeholder 3"/>
          <p:cNvSpPr>
            <a:spLocks noGrp="1"/>
          </p:cNvSpPr>
          <p:nvPr>
            <p:ph type="sldNum" sz="quarter" idx="10"/>
          </p:nvPr>
        </p:nvSpPr>
        <p:spPr/>
        <p:txBody>
          <a:bodyPr/>
          <a:lstStyle/>
          <a:p>
            <a:fld id="{5C7971BC-17B4-41AC-B919-720FEC275B0D}" type="slidenum">
              <a:rPr lang="en-US" smtClean="0"/>
              <a:t>25</a:t>
            </a:fld>
            <a:endParaRPr lang="en-US"/>
          </a:p>
        </p:txBody>
      </p:sp>
    </p:spTree>
    <p:extLst>
      <p:ext uri="{BB962C8B-B14F-4D97-AF65-F5344CB8AC3E}">
        <p14:creationId xmlns:p14="http://schemas.microsoft.com/office/powerpoint/2010/main" val="3572511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hown here is a simple graphic depicting the</a:t>
            </a:r>
            <a:r>
              <a:rPr lang="en-US" baseline="0" dirty="0"/>
              <a:t> exponential recruitment potential of SNS using coupons. The initial recruiter receives coupons to recruit her network members. Those network members recruit other network members, and the cycle continues throughout the network.</a:t>
            </a:r>
            <a:endParaRPr lang="en-US" dirty="0"/>
          </a:p>
          <a:p>
            <a:endParaRPr lang="en-US" dirty="0"/>
          </a:p>
        </p:txBody>
      </p:sp>
      <p:sp>
        <p:nvSpPr>
          <p:cNvPr id="4" name="Slide Number Placeholder 3"/>
          <p:cNvSpPr>
            <a:spLocks noGrp="1"/>
          </p:cNvSpPr>
          <p:nvPr>
            <p:ph type="sldNum" sz="quarter" idx="5"/>
          </p:nvPr>
        </p:nvSpPr>
        <p:spPr/>
        <p:txBody>
          <a:bodyPr/>
          <a:lstStyle/>
          <a:p>
            <a:fld id="{5C7971BC-17B4-41AC-B919-720FEC275B0D}" type="slidenum">
              <a:rPr lang="en-US" smtClean="0"/>
              <a:t>26</a:t>
            </a:fld>
            <a:endParaRPr lang="en-US"/>
          </a:p>
        </p:txBody>
      </p:sp>
    </p:spTree>
    <p:extLst>
      <p:ext uri="{BB962C8B-B14F-4D97-AF65-F5344CB8AC3E}">
        <p14:creationId xmlns:p14="http://schemas.microsoft.com/office/powerpoint/2010/main" val="31705216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we</a:t>
            </a:r>
            <a:r>
              <a:rPr lang="en-US" baseline="0" dirty="0"/>
              <a:t> will discuss SNS implementation. </a:t>
            </a:r>
            <a:r>
              <a:rPr lang="en-US" dirty="0"/>
              <a:t>SNS</a:t>
            </a:r>
            <a:r>
              <a:rPr lang="en-US" baseline="0" dirty="0"/>
              <a:t> is implemented in four phases:</a:t>
            </a:r>
          </a:p>
          <a:p>
            <a:r>
              <a:rPr lang="en-US" baseline="0" dirty="0"/>
              <a:t>Phase 1: Initial recruiter identification</a:t>
            </a:r>
          </a:p>
          <a:p>
            <a:r>
              <a:rPr lang="en-US" baseline="0" dirty="0"/>
              <a:t>Phase 2: Recruiter Instruction</a:t>
            </a:r>
          </a:p>
          <a:p>
            <a:r>
              <a:rPr lang="en-US" baseline="0" dirty="0"/>
              <a:t>Phase 3: Recruitment of network members</a:t>
            </a:r>
          </a:p>
          <a:p>
            <a:r>
              <a:rPr lang="en-US" baseline="0" dirty="0"/>
              <a:t>Phase 4: Testing of network members and invitation to become a recruiter</a:t>
            </a:r>
          </a:p>
          <a:p>
            <a:r>
              <a:rPr lang="en-US" baseline="0" dirty="0"/>
              <a:t>Then the cycle starts again at the second phase.</a:t>
            </a:r>
          </a:p>
          <a:p>
            <a:endParaRPr lang="en-US" baseline="0" dirty="0"/>
          </a:p>
          <a:p>
            <a:r>
              <a:rPr lang="en-US" baseline="0" dirty="0"/>
              <a:t>Now we will discuss each phase of implementation.</a:t>
            </a:r>
            <a:endParaRPr lang="en-US" dirty="0"/>
          </a:p>
        </p:txBody>
      </p:sp>
      <p:sp>
        <p:nvSpPr>
          <p:cNvPr id="4" name="Slide Number Placeholder 3"/>
          <p:cNvSpPr>
            <a:spLocks noGrp="1"/>
          </p:cNvSpPr>
          <p:nvPr>
            <p:ph type="sldNum" sz="quarter" idx="10"/>
          </p:nvPr>
        </p:nvSpPr>
        <p:spPr/>
        <p:txBody>
          <a:bodyPr/>
          <a:lstStyle/>
          <a:p>
            <a:fld id="{5C7971BC-17B4-41AC-B919-720FEC275B0D}" type="slidenum">
              <a:rPr lang="en-US" smtClean="0"/>
              <a:t>28</a:t>
            </a:fld>
            <a:endParaRPr lang="en-US"/>
          </a:p>
        </p:txBody>
      </p:sp>
    </p:spTree>
    <p:extLst>
      <p:ext uri="{BB962C8B-B14F-4D97-AF65-F5344CB8AC3E}">
        <p14:creationId xmlns:p14="http://schemas.microsoft.com/office/powerpoint/2010/main" val="4198590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p</a:t>
            </a:r>
            <a:r>
              <a:rPr lang="en-US" dirty="0"/>
              <a:t>hase 1, we identify</a:t>
            </a:r>
            <a:r>
              <a:rPr lang="en-US" baseline="0" dirty="0"/>
              <a:t> the </a:t>
            </a:r>
            <a:r>
              <a:rPr lang="en-US" dirty="0"/>
              <a:t>initial recruiters</a:t>
            </a:r>
            <a:r>
              <a:rPr lang="en-US" baseline="0" dirty="0"/>
              <a:t> or seeds. Seeds should be:</a:t>
            </a:r>
          </a:p>
          <a:p>
            <a:pPr marL="171450" lvl="0" indent="-171450">
              <a:buFont typeface="Arial" panose="020B0604020202020204" pitchFamily="34" charset="0"/>
              <a:buChar char="•"/>
            </a:pPr>
            <a:r>
              <a:rPr lang="en-US" dirty="0"/>
              <a:t>HIV positive and/or high-risk negative</a:t>
            </a:r>
          </a:p>
          <a:p>
            <a:pPr marL="171450" lvl="0" indent="-171450">
              <a:buFont typeface="Arial" panose="020B0604020202020204" pitchFamily="34" charset="0"/>
              <a:buChar char="•"/>
            </a:pPr>
            <a:r>
              <a:rPr lang="en-US" dirty="0"/>
              <a:t>Willing to refer network members to HTS</a:t>
            </a:r>
          </a:p>
          <a:p>
            <a:pPr marL="171450" lvl="0" indent="-171450">
              <a:buFont typeface="Arial" panose="020B0604020202020204" pitchFamily="34" charset="0"/>
              <a:buChar char="•"/>
            </a:pPr>
            <a:r>
              <a:rPr lang="en-US" dirty="0"/>
              <a:t>Comfortable talking about HIV</a:t>
            </a:r>
          </a:p>
          <a:p>
            <a:pPr marL="171450" lvl="0" indent="-171450">
              <a:buFont typeface="Arial" panose="020B0604020202020204" pitchFamily="34" charset="0"/>
              <a:buChar char="•"/>
            </a:pPr>
            <a:r>
              <a:rPr lang="en-US" dirty="0"/>
              <a:t>Knowledgeable about HTS and testing locations</a:t>
            </a:r>
          </a:p>
        </p:txBody>
      </p:sp>
      <p:sp>
        <p:nvSpPr>
          <p:cNvPr id="4" name="Slide Number Placeholder 3"/>
          <p:cNvSpPr>
            <a:spLocks noGrp="1"/>
          </p:cNvSpPr>
          <p:nvPr>
            <p:ph type="sldNum" sz="quarter" idx="10"/>
          </p:nvPr>
        </p:nvSpPr>
        <p:spPr/>
        <p:txBody>
          <a:bodyPr/>
          <a:lstStyle/>
          <a:p>
            <a:fld id="{5C7971BC-17B4-41AC-B919-720FEC275B0D}" type="slidenum">
              <a:rPr lang="en-US" smtClean="0"/>
              <a:t>29</a:t>
            </a:fld>
            <a:endParaRPr lang="en-US"/>
          </a:p>
        </p:txBody>
      </p:sp>
    </p:spTree>
    <p:extLst>
      <p:ext uri="{BB962C8B-B14F-4D97-AF65-F5344CB8AC3E}">
        <p14:creationId xmlns:p14="http://schemas.microsoft.com/office/powerpoint/2010/main" val="18442355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cond phase is to</a:t>
            </a:r>
            <a:r>
              <a:rPr lang="en-US" baseline="0" dirty="0"/>
              <a:t> instruct the recruiter on recruitment by providing a brief overview of the program, explain their role as a recruiter, and provide coaching on the best practices for recruitment.</a:t>
            </a:r>
            <a:endParaRPr lang="en-US" dirty="0"/>
          </a:p>
        </p:txBody>
      </p:sp>
      <p:sp>
        <p:nvSpPr>
          <p:cNvPr id="4" name="Slide Number Placeholder 3"/>
          <p:cNvSpPr>
            <a:spLocks noGrp="1"/>
          </p:cNvSpPr>
          <p:nvPr>
            <p:ph type="sldNum" sz="quarter" idx="10"/>
          </p:nvPr>
        </p:nvSpPr>
        <p:spPr/>
        <p:txBody>
          <a:bodyPr/>
          <a:lstStyle/>
          <a:p>
            <a:fld id="{5C7971BC-17B4-41AC-B919-720FEC275B0D}" type="slidenum">
              <a:rPr lang="en-US" smtClean="0"/>
              <a:t>30</a:t>
            </a:fld>
            <a:endParaRPr lang="en-US"/>
          </a:p>
        </p:txBody>
      </p:sp>
    </p:spTree>
    <p:extLst>
      <p:ext uri="{BB962C8B-B14F-4D97-AF65-F5344CB8AC3E}">
        <p14:creationId xmlns:p14="http://schemas.microsoft.com/office/powerpoint/2010/main" val="19551589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dirty="0">
                <a:solidFill>
                  <a:schemeClr val="tx1"/>
                </a:solidFill>
                <a:latin typeface="+mn-lt"/>
                <a:ea typeface="+mn-ea"/>
                <a:cs typeface="+mn-cs"/>
              </a:rPr>
              <a:t>Team should prepare a script to assist staff in providing recruitment instructions. These instructions should include these ite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kern="1200" baseline="0" dirty="0">
                <a:solidFill>
                  <a:schemeClr val="tx1"/>
                </a:solidFill>
                <a:latin typeface="+mn-lt"/>
                <a:ea typeface="+mn-ea"/>
                <a:cs typeface="+mn-cs"/>
              </a:rPr>
              <a:t>Identify people in your network who [insert target audience] and who may be at risk of HIV infection. </a:t>
            </a:r>
            <a:r>
              <a:rPr lang="en-US" sz="1200" b="1" kern="1200" baseline="0" dirty="0">
                <a:solidFill>
                  <a:schemeClr val="tx1"/>
                </a:solidFill>
                <a:latin typeface="+mn-lt"/>
                <a:ea typeface="+mn-ea"/>
                <a:cs typeface="+mn-cs"/>
              </a:rPr>
              <a:t>Note, the target audience for recruitment will depend on the KP group of interes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kern="1200" baseline="0" dirty="0">
                <a:solidFill>
                  <a:schemeClr val="tx1"/>
                </a:solidFill>
                <a:latin typeface="+mn-lt"/>
                <a:ea typeface="+mn-ea"/>
                <a:cs typeface="+mn-cs"/>
              </a:rPr>
              <a:t>Consider if these network members may be interested in receiving an HIV test if they can receive a small incentive when they get test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kern="1200" baseline="0" dirty="0">
                <a:solidFill>
                  <a:schemeClr val="tx1"/>
                </a:solidFill>
                <a:latin typeface="+mn-lt"/>
                <a:ea typeface="+mn-ea"/>
                <a:cs typeface="+mn-cs"/>
              </a:rPr>
              <a:t>You will receive referral coupons to give to them to direct them to a friendly and confidential HIV testing location.</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kern="1200" baseline="0" dirty="0">
                <a:solidFill>
                  <a:schemeClr val="tx1"/>
                </a:solidFill>
                <a:latin typeface="+mn-lt"/>
                <a:ea typeface="+mn-ea"/>
                <a:cs typeface="+mn-cs"/>
              </a:rPr>
              <a:t>Tell your network member that the results of his/her HIV test will never be shared with you.</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kern="1200" baseline="0" dirty="0">
                <a:solidFill>
                  <a:schemeClr val="tx1"/>
                </a:solidFill>
                <a:latin typeface="+mn-lt"/>
                <a:ea typeface="+mn-ea"/>
                <a:cs typeface="+mn-cs"/>
              </a:rPr>
              <a:t>A friendly professional can be reached by the phone number for any questions about HIV testing location or about their test result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kern="1200" baseline="0" dirty="0">
                <a:solidFill>
                  <a:schemeClr val="tx1"/>
                </a:solidFill>
                <a:latin typeface="+mn-lt"/>
                <a:ea typeface="+mn-ea"/>
                <a:cs typeface="+mn-cs"/>
              </a:rPr>
              <a:t>Contact the HIV testing location to inquire about any referral incentives owed to you.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latin typeface="+mn-lt"/>
                <a:ea typeface="+mn-ea"/>
                <a:cs typeface="+mn-cs"/>
              </a:rPr>
              <a:t>I repeat, these are basic instructions for recruitment training. Each SNS program should develop their own specific instructions that reflect their epidemic and context. In addition to these basic instructions, SNS staff can refer to the SNS Coaching Guide for more intensive coaching to improve recruitment of high-risk network memb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5C7971BC-17B4-41AC-B919-720FEC275B0D}" type="slidenum">
              <a:rPr lang="en-US" smtClean="0"/>
              <a:t>31</a:t>
            </a:fld>
            <a:endParaRPr lang="en-US"/>
          </a:p>
        </p:txBody>
      </p:sp>
    </p:spTree>
    <p:extLst>
      <p:ext uri="{BB962C8B-B14F-4D97-AF65-F5344CB8AC3E}">
        <p14:creationId xmlns:p14="http://schemas.microsoft.com/office/powerpoint/2010/main" val="18694203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05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81AEEE3-4735-4902-909D-E843295BA566}"/>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67CB28A-5243-42C0-BD1F-260092F8016D}" type="datetimeFigureOut">
              <a:rPr kumimoji="0" lang="en-US" sz="900" b="1" i="0" u="none" strike="noStrike" kern="1200" cap="none" spc="0" normalizeH="0" baseline="0" noProof="0" smtClean="0">
                <a:ln>
                  <a:noFill/>
                </a:ln>
                <a:solidFill>
                  <a:prstClr val="black"/>
                </a:solidFill>
                <a:effectLst/>
                <a:uLnTx/>
                <a:uFillTx/>
                <a:latin typeface="Adobe Garamond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2023</a:t>
            </a:fld>
            <a:endParaRPr kumimoji="0" lang="en-US" sz="900" b="1" i="0" u="none" strike="noStrike" kern="1200" cap="none" spc="0" normalizeH="0" baseline="0" noProof="0">
              <a:ln>
                <a:noFill/>
              </a:ln>
              <a:solidFill>
                <a:prstClr val="black"/>
              </a:solidFill>
              <a:effectLst/>
              <a:uLnTx/>
              <a:uFillTx/>
              <a:latin typeface="Adobe Garamond Pro"/>
              <a:ea typeface="+mn-ea"/>
              <a:cs typeface="+mn-cs"/>
            </a:endParaRPr>
          </a:p>
        </p:txBody>
      </p:sp>
      <p:sp>
        <p:nvSpPr>
          <p:cNvPr id="5" name="Slide Number Placeholder 5">
            <a:extLst>
              <a:ext uri="{FF2B5EF4-FFF2-40B4-BE49-F238E27FC236}">
                <a16:creationId xmlns:a16="http://schemas.microsoft.com/office/drawing/2014/main" id="{6F65ABBE-F1B4-47D9-AD0D-E1AA187F21DF}"/>
              </a:ext>
            </a:extLst>
          </p:cNvPr>
          <p:cNvSpPr>
            <a:spLocks noGrp="1"/>
          </p:cNvSpPr>
          <p:nvPr>
            <p:ph type="sldNum" sz="quarter" idx="11"/>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420EBE8-CDAD-4D48-A75F-F8EBEB53E6C7}" type="slidenum">
              <a:rPr kumimoji="0" lang="en-US" sz="900" b="1" i="0" u="none" strike="noStrike" kern="1200" cap="none" spc="0" normalizeH="0" baseline="0" noProof="0" smtClean="0">
                <a:ln>
                  <a:noFill/>
                </a:ln>
                <a:solidFill>
                  <a:prstClr val="black"/>
                </a:solidFill>
                <a:effectLst/>
                <a:uLnTx/>
                <a:uFillTx/>
                <a:latin typeface="Adobe Garamond Pro" panose="02020502060506020403"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900" b="1" i="0" u="none" strike="noStrike" kern="1200" cap="none" spc="0" normalizeH="0" baseline="0" noProof="0">
              <a:ln>
                <a:noFill/>
              </a:ln>
              <a:solidFill>
                <a:prstClr val="black"/>
              </a:solidFill>
              <a:effectLst/>
              <a:uLnTx/>
              <a:uFillTx/>
              <a:latin typeface="Adobe Garamond Pro" panose="02020502060506020403" pitchFamily="18" charset="0"/>
              <a:ea typeface="+mn-ea"/>
              <a:cs typeface="+mn-cs"/>
            </a:endParaRPr>
          </a:p>
        </p:txBody>
      </p:sp>
    </p:spTree>
    <p:extLst>
      <p:ext uri="{BB962C8B-B14F-4D97-AF65-F5344CB8AC3E}">
        <p14:creationId xmlns:p14="http://schemas.microsoft.com/office/powerpoint/2010/main" val="319350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8"/>
            <a:ext cx="109728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609600" y="1600201"/>
            <a:ext cx="109728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609600" y="5791200"/>
            <a:ext cx="109728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extLst>
      <p:ext uri="{BB962C8B-B14F-4D97-AF65-F5344CB8AC3E}">
        <p14:creationId xmlns:p14="http://schemas.microsoft.com/office/powerpoint/2010/main" val="228184512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66191" y="100082"/>
            <a:ext cx="9687340" cy="814318"/>
          </a:xfrm>
        </p:spPr>
        <p:txBody>
          <a:bodyPr/>
          <a:lstStyle>
            <a:lvl1pPr>
              <a:defRPr sz="1800"/>
            </a:lvl1pPr>
          </a:lstStyle>
          <a:p>
            <a:r>
              <a:rPr lang="en-US"/>
              <a:t>Click to edit Master title style</a:t>
            </a:r>
            <a:endParaRPr lang="en-US" dirty="0"/>
          </a:p>
        </p:txBody>
      </p:sp>
      <p:sp>
        <p:nvSpPr>
          <p:cNvPr id="3" name="Content Placeholder 2"/>
          <p:cNvSpPr>
            <a:spLocks noGrp="1"/>
          </p:cNvSpPr>
          <p:nvPr>
            <p:ph idx="1"/>
          </p:nvPr>
        </p:nvSpPr>
        <p:spPr>
          <a:xfrm>
            <a:off x="1166192" y="1152939"/>
            <a:ext cx="10187609" cy="502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987D410A-2D54-4D13-87FA-005FC9DB7BC9}"/>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67CB28A-5243-42C0-BD1F-260092F8016D}" type="datetimeFigureOut">
              <a:rPr kumimoji="0" lang="en-US" sz="900" b="1" i="0" u="none" strike="noStrike" kern="1200" cap="none" spc="0" normalizeH="0" baseline="0" noProof="0" smtClean="0">
                <a:ln>
                  <a:noFill/>
                </a:ln>
                <a:solidFill>
                  <a:prstClr val="black"/>
                </a:solidFill>
                <a:effectLst/>
                <a:uLnTx/>
                <a:uFillTx/>
                <a:latin typeface="Adobe Garamond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2023</a:t>
            </a:fld>
            <a:endParaRPr kumimoji="0" lang="en-US" sz="900" b="1" i="0" u="none" strike="noStrike" kern="1200" cap="none" spc="0" normalizeH="0" baseline="0" noProof="0">
              <a:ln>
                <a:noFill/>
              </a:ln>
              <a:solidFill>
                <a:prstClr val="black"/>
              </a:solidFill>
              <a:effectLst/>
              <a:uLnTx/>
              <a:uFillTx/>
              <a:latin typeface="Adobe Garamond Pro"/>
              <a:ea typeface="+mn-ea"/>
              <a:cs typeface="+mn-cs"/>
            </a:endParaRPr>
          </a:p>
        </p:txBody>
      </p:sp>
      <p:sp>
        <p:nvSpPr>
          <p:cNvPr id="5" name="Slide Number Placeholder 5">
            <a:extLst>
              <a:ext uri="{FF2B5EF4-FFF2-40B4-BE49-F238E27FC236}">
                <a16:creationId xmlns:a16="http://schemas.microsoft.com/office/drawing/2014/main" id="{C5C0D881-E34E-46D6-8AE9-1F3B4775DB7A}"/>
              </a:ext>
            </a:extLst>
          </p:cNvPr>
          <p:cNvSpPr>
            <a:spLocks noGrp="1"/>
          </p:cNvSpPr>
          <p:nvPr>
            <p:ph type="sldNum" sz="quarter" idx="11"/>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420EBE8-CDAD-4D48-A75F-F8EBEB53E6C7}" type="slidenum">
              <a:rPr kumimoji="0" lang="en-US" sz="900" b="1" i="0" u="none" strike="noStrike" kern="1200" cap="none" spc="0" normalizeH="0" baseline="0" noProof="0" smtClean="0">
                <a:ln>
                  <a:noFill/>
                </a:ln>
                <a:solidFill>
                  <a:prstClr val="black"/>
                </a:solidFill>
                <a:effectLst/>
                <a:uLnTx/>
                <a:uFillTx/>
                <a:latin typeface="Adobe Garamond Pro" panose="02020502060506020403"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900" b="1" i="0" u="none" strike="noStrike" kern="1200" cap="none" spc="0" normalizeH="0" baseline="0" noProof="0">
              <a:ln>
                <a:noFill/>
              </a:ln>
              <a:solidFill>
                <a:prstClr val="black"/>
              </a:solidFill>
              <a:effectLst/>
              <a:uLnTx/>
              <a:uFillTx/>
              <a:latin typeface="Adobe Garamond Pro" panose="02020502060506020403" pitchFamily="18" charset="0"/>
              <a:ea typeface="+mn-ea"/>
              <a:cs typeface="+mn-cs"/>
            </a:endParaRPr>
          </a:p>
        </p:txBody>
      </p:sp>
    </p:spTree>
    <p:extLst>
      <p:ext uri="{BB962C8B-B14F-4D97-AF65-F5344CB8AC3E}">
        <p14:creationId xmlns:p14="http://schemas.microsoft.com/office/powerpoint/2010/main" val="1572265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05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DEBE130-5C66-48FE-B65C-F18B7EB7AC5F}"/>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67CB28A-5243-42C0-BD1F-260092F8016D}" type="datetimeFigureOut">
              <a:rPr kumimoji="0" lang="en-US" sz="900" b="1" i="0" u="none" strike="noStrike" kern="1200" cap="none" spc="0" normalizeH="0" baseline="0" noProof="0" smtClean="0">
                <a:ln>
                  <a:noFill/>
                </a:ln>
                <a:solidFill>
                  <a:prstClr val="black"/>
                </a:solidFill>
                <a:effectLst/>
                <a:uLnTx/>
                <a:uFillTx/>
                <a:latin typeface="Adobe Garamond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2023</a:t>
            </a:fld>
            <a:endParaRPr kumimoji="0" lang="en-US" sz="900" b="1" i="0" u="none" strike="noStrike" kern="1200" cap="none" spc="0" normalizeH="0" baseline="0" noProof="0">
              <a:ln>
                <a:noFill/>
              </a:ln>
              <a:solidFill>
                <a:prstClr val="black"/>
              </a:solidFill>
              <a:effectLst/>
              <a:uLnTx/>
              <a:uFillTx/>
              <a:latin typeface="Adobe Garamond Pro"/>
              <a:ea typeface="+mn-ea"/>
              <a:cs typeface="+mn-cs"/>
            </a:endParaRPr>
          </a:p>
        </p:txBody>
      </p:sp>
      <p:sp>
        <p:nvSpPr>
          <p:cNvPr id="5" name="Slide Number Placeholder 5">
            <a:extLst>
              <a:ext uri="{FF2B5EF4-FFF2-40B4-BE49-F238E27FC236}">
                <a16:creationId xmlns:a16="http://schemas.microsoft.com/office/drawing/2014/main" id="{8BC9C50D-34B0-494E-8603-639857644DF4}"/>
              </a:ext>
            </a:extLst>
          </p:cNvPr>
          <p:cNvSpPr>
            <a:spLocks noGrp="1"/>
          </p:cNvSpPr>
          <p:nvPr>
            <p:ph type="sldNum" sz="quarter" idx="11"/>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420EBE8-CDAD-4D48-A75F-F8EBEB53E6C7}" type="slidenum">
              <a:rPr kumimoji="0" lang="en-US" sz="900" b="1" i="0" u="none" strike="noStrike" kern="1200" cap="none" spc="0" normalizeH="0" baseline="0" noProof="0" smtClean="0">
                <a:ln>
                  <a:noFill/>
                </a:ln>
                <a:solidFill>
                  <a:prstClr val="black"/>
                </a:solidFill>
                <a:effectLst/>
                <a:uLnTx/>
                <a:uFillTx/>
                <a:latin typeface="Adobe Garamond Pro" panose="02020502060506020403"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900" b="1" i="0" u="none" strike="noStrike" kern="1200" cap="none" spc="0" normalizeH="0" baseline="0" noProof="0">
              <a:ln>
                <a:noFill/>
              </a:ln>
              <a:solidFill>
                <a:prstClr val="black"/>
              </a:solidFill>
              <a:effectLst/>
              <a:uLnTx/>
              <a:uFillTx/>
              <a:latin typeface="Adobe Garamond Pro" panose="02020502060506020403" pitchFamily="18" charset="0"/>
              <a:ea typeface="+mn-ea"/>
              <a:cs typeface="+mn-cs"/>
            </a:endParaRPr>
          </a:p>
        </p:txBody>
      </p:sp>
    </p:spTree>
    <p:extLst>
      <p:ext uri="{BB962C8B-B14F-4D97-AF65-F5344CB8AC3E}">
        <p14:creationId xmlns:p14="http://schemas.microsoft.com/office/powerpoint/2010/main" val="791015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03245" y="1272209"/>
            <a:ext cx="4916556" cy="49047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2" y="1272209"/>
            <a:ext cx="4694583" cy="49047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D7526BA1-65B4-482F-AAE2-C4F4B971845E}"/>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67CB28A-5243-42C0-BD1F-260092F8016D}" type="datetimeFigureOut">
              <a:rPr kumimoji="0" lang="en-US" sz="900" b="1" i="0" u="none" strike="noStrike" kern="1200" cap="none" spc="0" normalizeH="0" baseline="0" noProof="0" smtClean="0">
                <a:ln>
                  <a:noFill/>
                </a:ln>
                <a:solidFill>
                  <a:prstClr val="black"/>
                </a:solidFill>
                <a:effectLst/>
                <a:uLnTx/>
                <a:uFillTx/>
                <a:latin typeface="Adobe Garamond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2023</a:t>
            </a:fld>
            <a:endParaRPr kumimoji="0" lang="en-US" sz="900" b="1" i="0" u="none" strike="noStrike" kern="1200" cap="none" spc="0" normalizeH="0" baseline="0" noProof="0">
              <a:ln>
                <a:noFill/>
              </a:ln>
              <a:solidFill>
                <a:prstClr val="black"/>
              </a:solidFill>
              <a:effectLst/>
              <a:uLnTx/>
              <a:uFillTx/>
              <a:latin typeface="Adobe Garamond Pro"/>
              <a:ea typeface="+mn-ea"/>
              <a:cs typeface="+mn-cs"/>
            </a:endParaRPr>
          </a:p>
        </p:txBody>
      </p:sp>
      <p:sp>
        <p:nvSpPr>
          <p:cNvPr id="6" name="Slide Number Placeholder 5">
            <a:extLst>
              <a:ext uri="{FF2B5EF4-FFF2-40B4-BE49-F238E27FC236}">
                <a16:creationId xmlns:a16="http://schemas.microsoft.com/office/drawing/2014/main" id="{19DE064F-8516-4005-A42C-C5780D7BE0CF}"/>
              </a:ext>
            </a:extLst>
          </p:cNvPr>
          <p:cNvSpPr>
            <a:spLocks noGrp="1"/>
          </p:cNvSpPr>
          <p:nvPr>
            <p:ph type="sldNum" sz="quarter" idx="11"/>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420EBE8-CDAD-4D48-A75F-F8EBEB53E6C7}" type="slidenum">
              <a:rPr kumimoji="0" lang="en-US" sz="900" b="1" i="0" u="none" strike="noStrike" kern="1200" cap="none" spc="0" normalizeH="0" baseline="0" noProof="0" smtClean="0">
                <a:ln>
                  <a:noFill/>
                </a:ln>
                <a:solidFill>
                  <a:prstClr val="black"/>
                </a:solidFill>
                <a:effectLst/>
                <a:uLnTx/>
                <a:uFillTx/>
                <a:latin typeface="Adobe Garamond Pro" panose="02020502060506020403"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900" b="1" i="0" u="none" strike="noStrike" kern="1200" cap="none" spc="0" normalizeH="0" baseline="0" noProof="0">
              <a:ln>
                <a:noFill/>
              </a:ln>
              <a:solidFill>
                <a:prstClr val="black"/>
              </a:solidFill>
              <a:effectLst/>
              <a:uLnTx/>
              <a:uFillTx/>
              <a:latin typeface="Adobe Garamond Pro" panose="02020502060506020403" pitchFamily="18" charset="0"/>
              <a:ea typeface="+mn-ea"/>
              <a:cs typeface="+mn-cs"/>
            </a:endParaRPr>
          </a:p>
        </p:txBody>
      </p:sp>
    </p:spTree>
    <p:extLst>
      <p:ext uri="{BB962C8B-B14F-4D97-AF65-F5344CB8AC3E}">
        <p14:creationId xmlns:p14="http://schemas.microsoft.com/office/powerpoint/2010/main" val="3000719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AB6CEBEE-2C37-4259-842A-B98CC4D4C572}"/>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67CB28A-5243-42C0-BD1F-260092F8016D}" type="datetimeFigureOut">
              <a:rPr kumimoji="0" lang="en-US" sz="900" b="1" i="0" u="none" strike="noStrike" kern="1200" cap="none" spc="0" normalizeH="0" baseline="0" noProof="0" smtClean="0">
                <a:ln>
                  <a:noFill/>
                </a:ln>
                <a:solidFill>
                  <a:prstClr val="black"/>
                </a:solidFill>
                <a:effectLst/>
                <a:uLnTx/>
                <a:uFillTx/>
                <a:latin typeface="Adobe Garamond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2023</a:t>
            </a:fld>
            <a:endParaRPr kumimoji="0" lang="en-US" sz="900" b="1" i="0" u="none" strike="noStrike" kern="1200" cap="none" spc="0" normalizeH="0" baseline="0" noProof="0">
              <a:ln>
                <a:noFill/>
              </a:ln>
              <a:solidFill>
                <a:prstClr val="black"/>
              </a:solidFill>
              <a:effectLst/>
              <a:uLnTx/>
              <a:uFillTx/>
              <a:latin typeface="Adobe Garamond Pro"/>
              <a:ea typeface="+mn-ea"/>
              <a:cs typeface="+mn-cs"/>
            </a:endParaRPr>
          </a:p>
        </p:txBody>
      </p:sp>
      <p:sp>
        <p:nvSpPr>
          <p:cNvPr id="4" name="Slide Number Placeholder 5">
            <a:extLst>
              <a:ext uri="{FF2B5EF4-FFF2-40B4-BE49-F238E27FC236}">
                <a16:creationId xmlns:a16="http://schemas.microsoft.com/office/drawing/2014/main" id="{E4A1C96E-C6F1-401E-9D94-36B13EA2B88B}"/>
              </a:ext>
            </a:extLst>
          </p:cNvPr>
          <p:cNvSpPr>
            <a:spLocks noGrp="1"/>
          </p:cNvSpPr>
          <p:nvPr>
            <p:ph type="sldNum" sz="quarter" idx="11"/>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420EBE8-CDAD-4D48-A75F-F8EBEB53E6C7}" type="slidenum">
              <a:rPr kumimoji="0" lang="en-US" sz="900" b="1" i="0" u="none" strike="noStrike" kern="1200" cap="none" spc="0" normalizeH="0" baseline="0" noProof="0" smtClean="0">
                <a:ln>
                  <a:noFill/>
                </a:ln>
                <a:solidFill>
                  <a:prstClr val="black"/>
                </a:solidFill>
                <a:effectLst/>
                <a:uLnTx/>
                <a:uFillTx/>
                <a:latin typeface="Adobe Garamond Pro" panose="02020502060506020403"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900" b="1" i="0" u="none" strike="noStrike" kern="1200" cap="none" spc="0" normalizeH="0" baseline="0" noProof="0">
              <a:ln>
                <a:noFill/>
              </a:ln>
              <a:solidFill>
                <a:prstClr val="black"/>
              </a:solidFill>
              <a:effectLst/>
              <a:uLnTx/>
              <a:uFillTx/>
              <a:latin typeface="Adobe Garamond Pro" panose="02020502060506020403" pitchFamily="18" charset="0"/>
              <a:ea typeface="+mn-ea"/>
              <a:cs typeface="+mn-cs"/>
            </a:endParaRPr>
          </a:p>
        </p:txBody>
      </p:sp>
    </p:spTree>
    <p:extLst>
      <p:ext uri="{BB962C8B-B14F-4D97-AF65-F5344CB8AC3E}">
        <p14:creationId xmlns:p14="http://schemas.microsoft.com/office/powerpoint/2010/main" val="35663041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E26BB930-FB38-4E7F-B479-0AFD09FC69F2}"/>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67CB28A-5243-42C0-BD1F-260092F8016D}" type="datetimeFigureOut">
              <a:rPr kumimoji="0" lang="en-US" sz="900" b="1" i="0" u="none" strike="noStrike" kern="1200" cap="none" spc="0" normalizeH="0" baseline="0" noProof="0" smtClean="0">
                <a:ln>
                  <a:noFill/>
                </a:ln>
                <a:solidFill>
                  <a:prstClr val="black"/>
                </a:solidFill>
                <a:effectLst/>
                <a:uLnTx/>
                <a:uFillTx/>
                <a:latin typeface="Adobe Garamond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2023</a:t>
            </a:fld>
            <a:endParaRPr kumimoji="0" lang="en-US" sz="900" b="1" i="0" u="none" strike="noStrike" kern="1200" cap="none" spc="0" normalizeH="0" baseline="0" noProof="0">
              <a:ln>
                <a:noFill/>
              </a:ln>
              <a:solidFill>
                <a:prstClr val="black"/>
              </a:solidFill>
              <a:effectLst/>
              <a:uLnTx/>
              <a:uFillTx/>
              <a:latin typeface="Adobe Garamond Pro"/>
              <a:ea typeface="+mn-ea"/>
              <a:cs typeface="+mn-cs"/>
            </a:endParaRPr>
          </a:p>
        </p:txBody>
      </p:sp>
      <p:sp>
        <p:nvSpPr>
          <p:cNvPr id="3" name="Slide Number Placeholder 5">
            <a:extLst>
              <a:ext uri="{FF2B5EF4-FFF2-40B4-BE49-F238E27FC236}">
                <a16:creationId xmlns:a16="http://schemas.microsoft.com/office/drawing/2014/main" id="{3F7E669A-3D3B-476F-9B1B-0D0F9C69163C}"/>
              </a:ext>
            </a:extLst>
          </p:cNvPr>
          <p:cNvSpPr>
            <a:spLocks noGrp="1"/>
          </p:cNvSpPr>
          <p:nvPr>
            <p:ph type="sldNum" sz="quarter" idx="11"/>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420EBE8-CDAD-4D48-A75F-F8EBEB53E6C7}" type="slidenum">
              <a:rPr kumimoji="0" lang="en-US" sz="900" b="1" i="0" u="none" strike="noStrike" kern="1200" cap="none" spc="0" normalizeH="0" baseline="0" noProof="0" smtClean="0">
                <a:ln>
                  <a:noFill/>
                </a:ln>
                <a:solidFill>
                  <a:prstClr val="black"/>
                </a:solidFill>
                <a:effectLst/>
                <a:uLnTx/>
                <a:uFillTx/>
                <a:latin typeface="Adobe Garamond Pro" panose="02020502060506020403"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900" b="1" i="0" u="none" strike="noStrike" kern="1200" cap="none" spc="0" normalizeH="0" baseline="0" noProof="0">
              <a:ln>
                <a:noFill/>
              </a:ln>
              <a:solidFill>
                <a:prstClr val="black"/>
              </a:solidFill>
              <a:effectLst/>
              <a:uLnTx/>
              <a:uFillTx/>
              <a:latin typeface="Adobe Garamond Pro" panose="02020502060506020403" pitchFamily="18" charset="0"/>
              <a:ea typeface="+mn-ea"/>
              <a:cs typeface="+mn-cs"/>
            </a:endParaRPr>
          </a:p>
        </p:txBody>
      </p:sp>
    </p:spTree>
    <p:extLst>
      <p:ext uri="{BB962C8B-B14F-4D97-AF65-F5344CB8AC3E}">
        <p14:creationId xmlns:p14="http://schemas.microsoft.com/office/powerpoint/2010/main" val="26865572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3">
            <a:extLst>
              <a:ext uri="{FF2B5EF4-FFF2-40B4-BE49-F238E27FC236}">
                <a16:creationId xmlns:a16="http://schemas.microsoft.com/office/drawing/2014/main" id="{3553F58E-F3F2-4836-9338-9AF7BD3BDCA9}"/>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67CB28A-5243-42C0-BD1F-260092F8016D}" type="datetimeFigureOut">
              <a:rPr kumimoji="0" lang="en-US" sz="900" b="1" i="0" u="none" strike="noStrike" kern="1200" cap="none" spc="0" normalizeH="0" baseline="0" noProof="0" smtClean="0">
                <a:ln>
                  <a:noFill/>
                </a:ln>
                <a:solidFill>
                  <a:prstClr val="black"/>
                </a:solidFill>
                <a:effectLst/>
                <a:uLnTx/>
                <a:uFillTx/>
                <a:latin typeface="Adobe Garamond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2023</a:t>
            </a:fld>
            <a:endParaRPr kumimoji="0" lang="en-US" sz="900" b="1" i="0" u="none" strike="noStrike" kern="1200" cap="none" spc="0" normalizeH="0" baseline="0" noProof="0">
              <a:ln>
                <a:noFill/>
              </a:ln>
              <a:solidFill>
                <a:prstClr val="black"/>
              </a:solidFill>
              <a:effectLst/>
              <a:uLnTx/>
              <a:uFillTx/>
              <a:latin typeface="Adobe Garamond Pro"/>
              <a:ea typeface="+mn-ea"/>
              <a:cs typeface="+mn-cs"/>
            </a:endParaRPr>
          </a:p>
        </p:txBody>
      </p:sp>
      <p:sp>
        <p:nvSpPr>
          <p:cNvPr id="6" name="Slide Number Placeholder 5">
            <a:extLst>
              <a:ext uri="{FF2B5EF4-FFF2-40B4-BE49-F238E27FC236}">
                <a16:creationId xmlns:a16="http://schemas.microsoft.com/office/drawing/2014/main" id="{5F3C5424-AF38-45D3-96B4-5AF803BD9F0D}"/>
              </a:ext>
            </a:extLst>
          </p:cNvPr>
          <p:cNvSpPr>
            <a:spLocks noGrp="1"/>
          </p:cNvSpPr>
          <p:nvPr>
            <p:ph type="sldNum" sz="quarter" idx="11"/>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420EBE8-CDAD-4D48-A75F-F8EBEB53E6C7}" type="slidenum">
              <a:rPr kumimoji="0" lang="en-US" sz="900" b="1" i="0" u="none" strike="noStrike" kern="1200" cap="none" spc="0" normalizeH="0" baseline="0" noProof="0" smtClean="0">
                <a:ln>
                  <a:noFill/>
                </a:ln>
                <a:solidFill>
                  <a:prstClr val="black"/>
                </a:solidFill>
                <a:effectLst/>
                <a:uLnTx/>
                <a:uFillTx/>
                <a:latin typeface="Adobe Garamond Pro" panose="02020502060506020403"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900" b="1" i="0" u="none" strike="noStrike" kern="1200" cap="none" spc="0" normalizeH="0" baseline="0" noProof="0">
              <a:ln>
                <a:noFill/>
              </a:ln>
              <a:solidFill>
                <a:prstClr val="black"/>
              </a:solidFill>
              <a:effectLst/>
              <a:uLnTx/>
              <a:uFillTx/>
              <a:latin typeface="Adobe Garamond Pro" panose="02020502060506020403" pitchFamily="18" charset="0"/>
              <a:ea typeface="+mn-ea"/>
              <a:cs typeface="+mn-cs"/>
            </a:endParaRPr>
          </a:p>
        </p:txBody>
      </p:sp>
    </p:spTree>
    <p:extLst>
      <p:ext uri="{BB962C8B-B14F-4D97-AF65-F5344CB8AC3E}">
        <p14:creationId xmlns:p14="http://schemas.microsoft.com/office/powerpoint/2010/main" val="8619226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21"/>
        <p:cNvGrpSpPr/>
        <p:nvPr/>
      </p:nvGrpSpPr>
      <p:grpSpPr>
        <a:xfrm>
          <a:off x="0" y="0"/>
          <a:ext cx="0" cy="0"/>
          <a:chOff x="0" y="0"/>
          <a:chExt cx="0" cy="0"/>
        </a:xfrm>
      </p:grpSpPr>
      <p:sp>
        <p:nvSpPr>
          <p:cNvPr id="22" name="Google Shape;22;p73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lvl="0" algn="ctr">
              <a:lnSpc>
                <a:spcPct val="90000"/>
              </a:lnSpc>
              <a:spcBef>
                <a:spcPts val="0"/>
              </a:spcBef>
              <a:spcAft>
                <a:spcPts val="0"/>
              </a:spcAft>
              <a:buSzPts val="1400"/>
              <a:buNone/>
              <a:defRPr sz="4000" b="1"/>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23" name="Google Shape;23;p73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lvl="0" indent="-381000" algn="l">
              <a:lnSpc>
                <a:spcPct val="90000"/>
              </a:lnSpc>
              <a:spcBef>
                <a:spcPts val="2400"/>
              </a:spcBef>
              <a:spcAft>
                <a:spcPts val="0"/>
              </a:spcAft>
              <a:buClr>
                <a:schemeClr val="dk1"/>
              </a:buClr>
              <a:buSzPts val="2400"/>
              <a:buChar char="•"/>
              <a:defRPr sz="2400"/>
            </a:lvl1pPr>
            <a:lvl2pPr marL="914400" lvl="1" indent="-381000" algn="l">
              <a:lnSpc>
                <a:spcPct val="90000"/>
              </a:lnSpc>
              <a:spcBef>
                <a:spcPts val="2400"/>
              </a:spcBef>
              <a:spcAft>
                <a:spcPts val="0"/>
              </a:spcAft>
              <a:buClr>
                <a:schemeClr val="dk1"/>
              </a:buClr>
              <a:buSzPts val="2400"/>
              <a:buChar char="•"/>
              <a:defRPr sz="2400"/>
            </a:lvl2pPr>
            <a:lvl3pPr marL="1371600" lvl="2" indent="-381000" algn="l">
              <a:lnSpc>
                <a:spcPct val="90000"/>
              </a:lnSpc>
              <a:spcBef>
                <a:spcPts val="2400"/>
              </a:spcBef>
              <a:spcAft>
                <a:spcPts val="0"/>
              </a:spcAft>
              <a:buClr>
                <a:schemeClr val="dk1"/>
              </a:buClr>
              <a:buSzPts val="2400"/>
              <a:buChar char="•"/>
              <a:defRPr sz="2400"/>
            </a:lvl3pPr>
            <a:lvl4pPr marL="1828800" lvl="3" indent="-381000" algn="l">
              <a:lnSpc>
                <a:spcPct val="90000"/>
              </a:lnSpc>
              <a:spcBef>
                <a:spcPts val="2400"/>
              </a:spcBef>
              <a:spcAft>
                <a:spcPts val="0"/>
              </a:spcAft>
              <a:buClr>
                <a:schemeClr val="dk1"/>
              </a:buClr>
              <a:buSzPts val="2400"/>
              <a:buChar char="•"/>
              <a:defRPr sz="2400"/>
            </a:lvl4pPr>
            <a:lvl5pPr marL="2286000" lvl="4" indent="-381000" algn="l">
              <a:lnSpc>
                <a:spcPct val="90000"/>
              </a:lnSpc>
              <a:spcBef>
                <a:spcPts val="2400"/>
              </a:spcBef>
              <a:spcAft>
                <a:spcPts val="0"/>
              </a:spcAft>
              <a:buClr>
                <a:schemeClr val="dk1"/>
              </a:buClr>
              <a:buSzPts val="2400"/>
              <a:buChar char="•"/>
              <a:defRPr sz="24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 name="Google Shape;24;p73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73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73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None/>
              <a:defRPr sz="1200" b="0" i="0" u="none" strike="noStrike" cap="none">
                <a:solidFill>
                  <a:srgbClr val="898989"/>
                </a:solidFill>
                <a:latin typeface="EB Garamond"/>
                <a:ea typeface="EB Garamond"/>
                <a:cs typeface="EB Garamond"/>
                <a:sym typeface="EB Garamond"/>
              </a:defRPr>
            </a:lvl1pPr>
            <a:lvl2pPr marL="0" marR="0" lvl="1" indent="0" algn="r">
              <a:spcBef>
                <a:spcPts val="0"/>
              </a:spcBef>
              <a:spcAft>
                <a:spcPts val="0"/>
              </a:spcAft>
              <a:buNone/>
              <a:defRPr sz="1200" b="0" i="0" u="none" strike="noStrike" cap="none">
                <a:solidFill>
                  <a:srgbClr val="898989"/>
                </a:solidFill>
                <a:latin typeface="EB Garamond"/>
                <a:ea typeface="EB Garamond"/>
                <a:cs typeface="EB Garamond"/>
                <a:sym typeface="EB Garamond"/>
              </a:defRPr>
            </a:lvl2pPr>
            <a:lvl3pPr marL="0" marR="0" lvl="2" indent="0" algn="r">
              <a:spcBef>
                <a:spcPts val="0"/>
              </a:spcBef>
              <a:spcAft>
                <a:spcPts val="0"/>
              </a:spcAft>
              <a:buNone/>
              <a:defRPr sz="1200" b="0" i="0" u="none" strike="noStrike" cap="none">
                <a:solidFill>
                  <a:srgbClr val="898989"/>
                </a:solidFill>
                <a:latin typeface="EB Garamond"/>
                <a:ea typeface="EB Garamond"/>
                <a:cs typeface="EB Garamond"/>
                <a:sym typeface="EB Garamond"/>
              </a:defRPr>
            </a:lvl3pPr>
            <a:lvl4pPr marL="0" marR="0" lvl="3" indent="0" algn="r">
              <a:spcBef>
                <a:spcPts val="0"/>
              </a:spcBef>
              <a:spcAft>
                <a:spcPts val="0"/>
              </a:spcAft>
              <a:buNone/>
              <a:defRPr sz="1200" b="0" i="0" u="none" strike="noStrike" cap="none">
                <a:solidFill>
                  <a:srgbClr val="898989"/>
                </a:solidFill>
                <a:latin typeface="EB Garamond"/>
                <a:ea typeface="EB Garamond"/>
                <a:cs typeface="EB Garamond"/>
                <a:sym typeface="EB Garamond"/>
              </a:defRPr>
            </a:lvl4pPr>
            <a:lvl5pPr marL="0" marR="0" lvl="4" indent="0" algn="r">
              <a:spcBef>
                <a:spcPts val="0"/>
              </a:spcBef>
              <a:spcAft>
                <a:spcPts val="0"/>
              </a:spcAft>
              <a:buNone/>
              <a:defRPr sz="1200" b="0" i="0" u="none" strike="noStrike" cap="none">
                <a:solidFill>
                  <a:srgbClr val="898989"/>
                </a:solidFill>
                <a:latin typeface="EB Garamond"/>
                <a:ea typeface="EB Garamond"/>
                <a:cs typeface="EB Garamond"/>
                <a:sym typeface="EB Garamond"/>
              </a:defRPr>
            </a:lvl5pPr>
            <a:lvl6pPr marL="0" marR="0" lvl="5" indent="0" algn="r">
              <a:spcBef>
                <a:spcPts val="0"/>
              </a:spcBef>
              <a:spcAft>
                <a:spcPts val="0"/>
              </a:spcAft>
              <a:buNone/>
              <a:defRPr sz="1200" b="0" i="0" u="none" strike="noStrike" cap="none">
                <a:solidFill>
                  <a:srgbClr val="898989"/>
                </a:solidFill>
                <a:latin typeface="EB Garamond"/>
                <a:ea typeface="EB Garamond"/>
                <a:cs typeface="EB Garamond"/>
                <a:sym typeface="EB Garamond"/>
              </a:defRPr>
            </a:lvl6pPr>
            <a:lvl7pPr marL="0" marR="0" lvl="6" indent="0" algn="r">
              <a:spcBef>
                <a:spcPts val="0"/>
              </a:spcBef>
              <a:spcAft>
                <a:spcPts val="0"/>
              </a:spcAft>
              <a:buNone/>
              <a:defRPr sz="1200" b="0" i="0" u="none" strike="noStrike" cap="none">
                <a:solidFill>
                  <a:srgbClr val="898989"/>
                </a:solidFill>
                <a:latin typeface="EB Garamond"/>
                <a:ea typeface="EB Garamond"/>
                <a:cs typeface="EB Garamond"/>
                <a:sym typeface="EB Garamond"/>
              </a:defRPr>
            </a:lvl7pPr>
            <a:lvl8pPr marL="0" marR="0" lvl="7" indent="0" algn="r">
              <a:spcBef>
                <a:spcPts val="0"/>
              </a:spcBef>
              <a:spcAft>
                <a:spcPts val="0"/>
              </a:spcAft>
              <a:buNone/>
              <a:defRPr sz="1200" b="0" i="0" u="none" strike="noStrike" cap="none">
                <a:solidFill>
                  <a:srgbClr val="898989"/>
                </a:solidFill>
                <a:latin typeface="EB Garamond"/>
                <a:ea typeface="EB Garamond"/>
                <a:cs typeface="EB Garamond"/>
                <a:sym typeface="EB Garamond"/>
              </a:defRPr>
            </a:lvl8pPr>
            <a:lvl9pPr marL="0" marR="0" lvl="8" indent="0" algn="r">
              <a:spcBef>
                <a:spcPts val="0"/>
              </a:spcBef>
              <a:spcAft>
                <a:spcPts val="0"/>
              </a:spcAft>
              <a:buNone/>
              <a:defRPr sz="1200" b="0" i="0" u="none" strike="noStrike" cap="none">
                <a:solidFill>
                  <a:srgbClr val="898989"/>
                </a:solidFill>
                <a:latin typeface="EB Garamond"/>
                <a:ea typeface="EB Garamond"/>
                <a:cs typeface="EB Garamond"/>
                <a:sym typeface="EB Garamond"/>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740703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and Content-Map">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883390"/>
            <a:ext cx="10972800" cy="4060210"/>
          </a:xfrm>
        </p:spPr>
        <p:txBody>
          <a:bodyPr/>
          <a:lstStyle>
            <a:lvl1pPr>
              <a:defRPr sz="2400"/>
            </a:lvl1pPr>
            <a:lvl2pPr>
              <a:defRPr sz="2400"/>
            </a:lvl2pPr>
            <a:lvl3pPr>
              <a:defRPr sz="2400"/>
            </a:lvl3pPr>
            <a:lvl4pPr>
              <a:defRPr sz="2400"/>
            </a:lvl4pPr>
            <a:lvl5pPr>
              <a:defRPr sz="2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4000">
                <a:solidFill>
                  <a:schemeClr val="bg1"/>
                </a:solidFill>
              </a:defRPr>
            </a:lvl1pPr>
          </a:lstStyle>
          <a:p>
            <a:r>
              <a:rPr lang="en-US"/>
              <a:t>Click to edit Master title style</a:t>
            </a:r>
            <a:endParaRPr lang="en-US" dirty="0"/>
          </a:p>
        </p:txBody>
      </p:sp>
      <p:sp>
        <p:nvSpPr>
          <p:cNvPr id="9" name="Date Placeholder 3"/>
          <p:cNvSpPr>
            <a:spLocks noGrp="1"/>
          </p:cNvSpPr>
          <p:nvPr>
            <p:ph type="dt" sz="half" idx="10"/>
          </p:nvPr>
        </p:nvSpPr>
        <p:spPr/>
        <p:txBody>
          <a:bodyPr/>
          <a:lstStyle>
            <a:lvl1pPr>
              <a:defRPr/>
            </a:lvl1pPr>
          </a:lstStyle>
          <a:p>
            <a:fld id="{6C1F09C7-97C2-024B-86D7-923F54B490C2}" type="datetimeFigureOut">
              <a:rPr lang="en-US" smtClean="0"/>
              <a:pPr/>
              <a:t>2/3/2023</a:t>
            </a:fld>
            <a:endParaRPr lang="en-US"/>
          </a:p>
        </p:txBody>
      </p:sp>
      <p:sp>
        <p:nvSpPr>
          <p:cNvPr id="10" name="Footer Placeholder 4"/>
          <p:cNvSpPr>
            <a:spLocks noGrp="1"/>
          </p:cNvSpPr>
          <p:nvPr>
            <p:ph type="ftr" sz="quarter" idx="11"/>
          </p:nvPr>
        </p:nvSpPr>
        <p:spPr/>
        <p:txBody>
          <a:bodyPr/>
          <a:lstStyle>
            <a:lvl1pPr>
              <a:defRPr/>
            </a:lvl1pPr>
          </a:lstStyle>
          <a:p>
            <a:endParaRPr lang="en-US"/>
          </a:p>
        </p:txBody>
      </p:sp>
      <p:sp>
        <p:nvSpPr>
          <p:cNvPr id="11" name="Slide Number Placeholder 5"/>
          <p:cNvSpPr>
            <a:spLocks noGrp="1"/>
          </p:cNvSpPr>
          <p:nvPr>
            <p:ph type="sldNum" sz="quarter" idx="12"/>
          </p:nvPr>
        </p:nvSpPr>
        <p:spPr>
          <a:xfrm>
            <a:off x="8724900" y="6096001"/>
            <a:ext cx="2025651" cy="365125"/>
          </a:xfrm>
        </p:spPr>
        <p:txBody>
          <a:bodyPr/>
          <a:lstStyle>
            <a:lvl1pPr>
              <a:defRPr/>
            </a:lvl1pPr>
          </a:lstStyle>
          <a:p>
            <a:fld id="{722FF242-D6CA-AA40-950F-8C092C98230D}" type="slidenum">
              <a:rPr lang="en-US" smtClean="0"/>
              <a:pPr/>
              <a:t>‹#›</a:t>
            </a:fld>
            <a:endParaRPr lang="en-US"/>
          </a:p>
        </p:txBody>
      </p:sp>
    </p:spTree>
    <p:extLst>
      <p:ext uri="{BB962C8B-B14F-4D97-AF65-F5344CB8AC3E}">
        <p14:creationId xmlns:p14="http://schemas.microsoft.com/office/powerpoint/2010/main" val="3198952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gi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lum/>
          </a:blip>
          <a:srcRect/>
          <a:stretch>
            <a:fillRect/>
          </a:stretch>
        </a:blip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D051F82C-D3ED-41B5-8C69-241802CAD85A}"/>
              </a:ext>
            </a:extLst>
          </p:cNvPr>
          <p:cNvGraphicFramePr>
            <a:graphicFrameLocks noChangeAspect="1"/>
          </p:cNvGraphicFramePr>
          <p:nvPr>
            <p:custDataLst>
              <p:tags r:id="rId1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1026" name="Object 1" hidden="1">
                        <a:extLst>
                          <a:ext uri="{FF2B5EF4-FFF2-40B4-BE49-F238E27FC236}">
                            <a16:creationId xmlns:a16="http://schemas.microsoft.com/office/drawing/2014/main" id="{D051F82C-D3ED-41B5-8C69-241802CAD85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a:extLst>
              <a:ext uri="{FF2B5EF4-FFF2-40B4-BE49-F238E27FC236}">
                <a16:creationId xmlns:a16="http://schemas.microsoft.com/office/drawing/2014/main" id="{1B4359E5-34CD-46C7-BF9A-DD4B1A9C2A53}"/>
              </a:ext>
            </a:extLst>
          </p:cNvPr>
          <p:cNvSpPr>
            <a:spLocks noGrp="1"/>
          </p:cNvSpPr>
          <p:nvPr>
            <p:ph type="title"/>
          </p:nvPr>
        </p:nvSpPr>
        <p:spPr bwMode="auto">
          <a:xfrm>
            <a:off x="1102785" y="112714"/>
            <a:ext cx="9764183"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099" name="Text Placeholder 2">
            <a:extLst>
              <a:ext uri="{FF2B5EF4-FFF2-40B4-BE49-F238E27FC236}">
                <a16:creationId xmlns:a16="http://schemas.microsoft.com/office/drawing/2014/main" id="{1BE6AC0F-6DB4-4C22-9AC8-2D15DACAC31E}"/>
              </a:ext>
            </a:extLst>
          </p:cNvPr>
          <p:cNvSpPr>
            <a:spLocks noGrp="1"/>
          </p:cNvSpPr>
          <p:nvPr>
            <p:ph type="body" idx="1"/>
          </p:nvPr>
        </p:nvSpPr>
        <p:spPr bwMode="auto">
          <a:xfrm>
            <a:off x="1102784" y="1046163"/>
            <a:ext cx="10251016" cy="513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Date Placeholder 3">
            <a:extLst>
              <a:ext uri="{FF2B5EF4-FFF2-40B4-BE49-F238E27FC236}">
                <a16:creationId xmlns:a16="http://schemas.microsoft.com/office/drawing/2014/main" id="{9F2DCEAF-F466-473D-A1B0-6B8614282FFF}"/>
              </a:ext>
            </a:extLst>
          </p:cNvPr>
          <p:cNvSpPr>
            <a:spLocks noGrp="1"/>
          </p:cNvSpPr>
          <p:nvPr>
            <p:ph type="dt" sz="half" idx="2"/>
          </p:nvPr>
        </p:nvSpPr>
        <p:spPr>
          <a:xfrm>
            <a:off x="110067" y="6492876"/>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900" b="1" smtClean="0">
                <a:solidFill>
                  <a:schemeClr val="tx1"/>
                </a:solidFill>
                <a:latin typeface="+mn-lt"/>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67CB28A-5243-42C0-BD1F-260092F8016D}" type="datetimeFigureOut">
              <a:rPr kumimoji="0" lang="en-US" sz="900" b="1" i="0" u="none" strike="noStrike" kern="1200" cap="none" spc="0" normalizeH="0" baseline="0" noProof="0" smtClean="0">
                <a:ln>
                  <a:noFill/>
                </a:ln>
                <a:solidFill>
                  <a:prstClr val="black"/>
                </a:solidFill>
                <a:effectLst/>
                <a:uLnTx/>
                <a:uFillTx/>
                <a:latin typeface="Adobe Garamond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2023</a:t>
            </a:fld>
            <a:endParaRPr kumimoji="0" lang="en-US" sz="900" b="1" i="0" u="none" strike="noStrike" kern="1200" cap="none" spc="0" normalizeH="0" baseline="0" noProof="0">
              <a:ln>
                <a:noFill/>
              </a:ln>
              <a:solidFill>
                <a:prstClr val="black"/>
              </a:solidFill>
              <a:effectLst/>
              <a:uLnTx/>
              <a:uFillTx/>
              <a:latin typeface="Adobe Garamond Pro"/>
              <a:ea typeface="+mn-ea"/>
              <a:cs typeface="+mn-cs"/>
            </a:endParaRPr>
          </a:p>
        </p:txBody>
      </p:sp>
      <p:sp>
        <p:nvSpPr>
          <p:cNvPr id="6" name="Slide Number Placeholder 5">
            <a:extLst>
              <a:ext uri="{FF2B5EF4-FFF2-40B4-BE49-F238E27FC236}">
                <a16:creationId xmlns:a16="http://schemas.microsoft.com/office/drawing/2014/main" id="{C773944A-568A-420E-93D1-2196EAD8CC14}"/>
              </a:ext>
            </a:extLst>
          </p:cNvPr>
          <p:cNvSpPr>
            <a:spLocks noGrp="1"/>
          </p:cNvSpPr>
          <p:nvPr>
            <p:ph type="sldNum" sz="quarter" idx="4"/>
          </p:nvPr>
        </p:nvSpPr>
        <p:spPr>
          <a:xfrm>
            <a:off x="9448800" y="6457951"/>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b="1"/>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420EBE8-CDAD-4D48-A75F-F8EBEB53E6C7}" type="slidenum">
              <a:rPr kumimoji="0" lang="en-US" sz="900" b="1" i="0" u="none" strike="noStrike" kern="1200" cap="none" spc="0" normalizeH="0" baseline="0" noProof="0" smtClean="0">
                <a:ln>
                  <a:noFill/>
                </a:ln>
                <a:solidFill>
                  <a:prstClr val="black"/>
                </a:solidFill>
                <a:effectLst/>
                <a:uLnTx/>
                <a:uFillTx/>
                <a:latin typeface="Adobe Garamond Pro" panose="02020502060506020403"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900" b="1" i="0" u="none" strike="noStrike" kern="1200" cap="none" spc="0" normalizeH="0" baseline="0" noProof="0">
              <a:ln>
                <a:noFill/>
              </a:ln>
              <a:solidFill>
                <a:prstClr val="black"/>
              </a:solidFill>
              <a:effectLst/>
              <a:uLnTx/>
              <a:uFillTx/>
              <a:latin typeface="Adobe Garamond Pro" panose="02020502060506020403" pitchFamily="18" charset="0"/>
              <a:ea typeface="+mn-ea"/>
              <a:cs typeface="+mn-cs"/>
            </a:endParaRPr>
          </a:p>
        </p:txBody>
      </p:sp>
    </p:spTree>
    <p:extLst>
      <p:ext uri="{BB962C8B-B14F-4D97-AF65-F5344CB8AC3E}">
        <p14:creationId xmlns:p14="http://schemas.microsoft.com/office/powerpoint/2010/main" val="8915947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l" rtl="0" eaLnBrk="1" fontAlgn="base" hangingPunct="1">
        <a:lnSpc>
          <a:spcPct val="90000"/>
        </a:lnSpc>
        <a:spcBef>
          <a:spcPct val="0"/>
        </a:spcBef>
        <a:spcAft>
          <a:spcPct val="0"/>
        </a:spcAft>
        <a:defRPr b="1" kern="1200">
          <a:solidFill>
            <a:schemeClr val="tx1"/>
          </a:solidFill>
          <a:latin typeface="+mj-lt"/>
          <a:ea typeface="+mj-ea"/>
          <a:cs typeface="+mj-cs"/>
        </a:defRPr>
      </a:lvl1pPr>
      <a:lvl2pPr algn="l" rtl="0" eaLnBrk="1" fontAlgn="base" hangingPunct="1">
        <a:lnSpc>
          <a:spcPct val="90000"/>
        </a:lnSpc>
        <a:spcBef>
          <a:spcPct val="0"/>
        </a:spcBef>
        <a:spcAft>
          <a:spcPct val="0"/>
        </a:spcAft>
        <a:defRPr b="1">
          <a:solidFill>
            <a:schemeClr val="tx1"/>
          </a:solidFill>
          <a:latin typeface="Adobe Jenson Pro" panose="020A0503050201030203" pitchFamily="18" charset="0"/>
        </a:defRPr>
      </a:lvl2pPr>
      <a:lvl3pPr algn="l" rtl="0" eaLnBrk="1" fontAlgn="base" hangingPunct="1">
        <a:lnSpc>
          <a:spcPct val="90000"/>
        </a:lnSpc>
        <a:spcBef>
          <a:spcPct val="0"/>
        </a:spcBef>
        <a:spcAft>
          <a:spcPct val="0"/>
        </a:spcAft>
        <a:defRPr b="1">
          <a:solidFill>
            <a:schemeClr val="tx1"/>
          </a:solidFill>
          <a:latin typeface="Adobe Jenson Pro" panose="020A0503050201030203" pitchFamily="18" charset="0"/>
        </a:defRPr>
      </a:lvl3pPr>
      <a:lvl4pPr algn="l" rtl="0" eaLnBrk="1" fontAlgn="base" hangingPunct="1">
        <a:lnSpc>
          <a:spcPct val="90000"/>
        </a:lnSpc>
        <a:spcBef>
          <a:spcPct val="0"/>
        </a:spcBef>
        <a:spcAft>
          <a:spcPct val="0"/>
        </a:spcAft>
        <a:defRPr b="1">
          <a:solidFill>
            <a:schemeClr val="tx1"/>
          </a:solidFill>
          <a:latin typeface="Adobe Jenson Pro" panose="020A0503050201030203" pitchFamily="18" charset="0"/>
        </a:defRPr>
      </a:lvl4pPr>
      <a:lvl5pPr algn="l" rtl="0" eaLnBrk="1" fontAlgn="base" hangingPunct="1">
        <a:lnSpc>
          <a:spcPct val="90000"/>
        </a:lnSpc>
        <a:spcBef>
          <a:spcPct val="0"/>
        </a:spcBef>
        <a:spcAft>
          <a:spcPct val="0"/>
        </a:spcAft>
        <a:defRPr b="1">
          <a:solidFill>
            <a:schemeClr val="tx1"/>
          </a:solidFill>
          <a:latin typeface="Adobe Jenson Pro" panose="020A0503050201030203" pitchFamily="18" charset="0"/>
        </a:defRPr>
      </a:lvl5pPr>
      <a:lvl6pPr marL="342900" algn="l" rtl="0" eaLnBrk="1" fontAlgn="base" hangingPunct="1">
        <a:lnSpc>
          <a:spcPct val="90000"/>
        </a:lnSpc>
        <a:spcBef>
          <a:spcPct val="0"/>
        </a:spcBef>
        <a:spcAft>
          <a:spcPct val="0"/>
        </a:spcAft>
        <a:defRPr sz="3300">
          <a:solidFill>
            <a:schemeClr val="tx1"/>
          </a:solidFill>
          <a:latin typeface="Adobe Jenson Pro" panose="020A0503050201030203" pitchFamily="18" charset="0"/>
        </a:defRPr>
      </a:lvl6pPr>
      <a:lvl7pPr marL="685800" algn="l" rtl="0" eaLnBrk="1" fontAlgn="base" hangingPunct="1">
        <a:lnSpc>
          <a:spcPct val="90000"/>
        </a:lnSpc>
        <a:spcBef>
          <a:spcPct val="0"/>
        </a:spcBef>
        <a:spcAft>
          <a:spcPct val="0"/>
        </a:spcAft>
        <a:defRPr sz="3300">
          <a:solidFill>
            <a:schemeClr val="tx1"/>
          </a:solidFill>
          <a:latin typeface="Adobe Jenson Pro" panose="020A0503050201030203" pitchFamily="18" charset="0"/>
        </a:defRPr>
      </a:lvl7pPr>
      <a:lvl8pPr marL="1028700" algn="l" rtl="0" eaLnBrk="1" fontAlgn="base" hangingPunct="1">
        <a:lnSpc>
          <a:spcPct val="90000"/>
        </a:lnSpc>
        <a:spcBef>
          <a:spcPct val="0"/>
        </a:spcBef>
        <a:spcAft>
          <a:spcPct val="0"/>
        </a:spcAft>
        <a:defRPr sz="3300">
          <a:solidFill>
            <a:schemeClr val="tx1"/>
          </a:solidFill>
          <a:latin typeface="Adobe Jenson Pro" panose="020A0503050201030203" pitchFamily="18" charset="0"/>
        </a:defRPr>
      </a:lvl8pPr>
      <a:lvl9pPr marL="1371600" algn="l" rtl="0" eaLnBrk="1" fontAlgn="base" hangingPunct="1">
        <a:lnSpc>
          <a:spcPct val="90000"/>
        </a:lnSpc>
        <a:spcBef>
          <a:spcPct val="0"/>
        </a:spcBef>
        <a:spcAft>
          <a:spcPct val="0"/>
        </a:spcAft>
        <a:defRPr sz="3300">
          <a:solidFill>
            <a:schemeClr val="tx1"/>
          </a:solidFill>
          <a:latin typeface="Adobe Jenson Pro" panose="020A0503050201030203" pitchFamily="18" charset="0"/>
        </a:defRPr>
      </a:lvl9pPr>
    </p:titleStyle>
    <p:bodyStyle>
      <a:lvl1pPr marL="171450" indent="-171450" algn="l" rtl="0" eaLnBrk="1" fontAlgn="base" hangingPunct="1">
        <a:lnSpc>
          <a:spcPct val="90000"/>
        </a:lnSpc>
        <a:spcBef>
          <a:spcPts val="750"/>
        </a:spcBef>
        <a:spcAft>
          <a:spcPct val="0"/>
        </a:spcAft>
        <a:buFont typeface="Arial" panose="020B0604020202020204" pitchFamily="34" charset="0"/>
        <a:buChar char="•"/>
        <a:defRPr kern="1200">
          <a:solidFill>
            <a:schemeClr val="tx1"/>
          </a:solidFill>
          <a:latin typeface="+mn-lt"/>
          <a:ea typeface="+mn-ea"/>
          <a:cs typeface="+mn-cs"/>
        </a:defRPr>
      </a:lvl1pPr>
      <a:lvl2pPr marL="514350" indent="-171450" algn="l" rtl="0" eaLnBrk="1" fontAlgn="base" hangingPunct="1">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2pPr>
      <a:lvl3pPr marL="857250" indent="-171450" algn="l" rtl="0" eaLnBrk="1" fontAlgn="base" hangingPunct="1">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3pPr>
      <a:lvl4pPr marL="1200150" indent="-171450" algn="l" rtl="0" eaLnBrk="1" fontAlgn="base" hangingPunct="1">
        <a:lnSpc>
          <a:spcPct val="90000"/>
        </a:lnSpc>
        <a:spcBef>
          <a:spcPts val="375"/>
        </a:spcBef>
        <a:spcAft>
          <a:spcPct val="0"/>
        </a:spcAft>
        <a:buFont typeface="Arial" panose="020B0604020202020204" pitchFamily="34" charset="0"/>
        <a:buChar char="•"/>
        <a:defRPr sz="1200" kern="1200">
          <a:solidFill>
            <a:schemeClr val="tx1"/>
          </a:solidFill>
          <a:latin typeface="+mn-lt"/>
          <a:ea typeface="+mn-ea"/>
          <a:cs typeface="+mn-cs"/>
        </a:defRPr>
      </a:lvl4pPr>
      <a:lvl5pPr marL="1543050" indent="-171450" algn="l" rtl="0" eaLnBrk="1" fontAlgn="base" hangingPunct="1">
        <a:lnSpc>
          <a:spcPct val="90000"/>
        </a:lnSpc>
        <a:spcBef>
          <a:spcPts val="375"/>
        </a:spcBef>
        <a:spcAft>
          <a:spcPct val="0"/>
        </a:spcAft>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gi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 Id="rId9" Type="http://schemas.openxmlformats.org/officeDocument/2006/relationships/image" Target="../media/image17.jpg"/></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91"/>
        <p:cNvGrpSpPr/>
        <p:nvPr/>
      </p:nvGrpSpPr>
      <p:grpSpPr>
        <a:xfrm>
          <a:off x="0" y="0"/>
          <a:ext cx="0" cy="0"/>
          <a:chOff x="0" y="0"/>
          <a:chExt cx="0" cy="0"/>
        </a:xfrm>
      </p:grpSpPr>
      <p:sp>
        <p:nvSpPr>
          <p:cNvPr id="492" name="Google Shape;492;p29"/>
          <p:cNvSpPr txBox="1">
            <a:spLocks noGrp="1"/>
          </p:cNvSpPr>
          <p:nvPr>
            <p:ph type="ctrTitle"/>
          </p:nvPr>
        </p:nvSpPr>
        <p:spPr>
          <a:xfrm>
            <a:off x="1524000" y="1770756"/>
            <a:ext cx="9144000" cy="2387600"/>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None/>
            </a:pPr>
            <a:r>
              <a:rPr lang="en-US" sz="4000" dirty="0"/>
              <a:t>UNIT 8</a:t>
            </a:r>
            <a:r>
              <a:rPr lang="en-US" sz="4000" b="1" cap="none" dirty="0"/>
              <a:t>: </a:t>
            </a:r>
            <a:br>
              <a:rPr lang="en-US" sz="4000" b="1" cap="none" dirty="0"/>
            </a:br>
            <a:r>
              <a:rPr lang="en-US" sz="4000" dirty="0"/>
              <a:t>INDEX TESTING SERVICE</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8EBD7A-21B8-4765-B98B-93C6F2440697}"/>
              </a:ext>
            </a:extLst>
          </p:cNvPr>
          <p:cNvSpPr>
            <a:spLocks noGrp="1"/>
          </p:cNvSpPr>
          <p:nvPr>
            <p:ph type="title"/>
          </p:nvPr>
        </p:nvSpPr>
        <p:spPr>
          <a:xfrm>
            <a:off x="838200" y="365126"/>
            <a:ext cx="10515600" cy="863174"/>
          </a:xfrm>
        </p:spPr>
        <p:txBody>
          <a:bodyPr/>
          <a:lstStyle/>
          <a:p>
            <a:r>
              <a:rPr lang="en-US" dirty="0"/>
              <a:t>Index Contact Testing Guiding principals </a:t>
            </a:r>
          </a:p>
        </p:txBody>
      </p:sp>
      <p:sp>
        <p:nvSpPr>
          <p:cNvPr id="3" name="Text Placeholder 2">
            <a:extLst>
              <a:ext uri="{FF2B5EF4-FFF2-40B4-BE49-F238E27FC236}">
                <a16:creationId xmlns:a16="http://schemas.microsoft.com/office/drawing/2014/main" id="{D32514CD-B210-4C0C-BC7A-CA970418DE9F}"/>
              </a:ext>
            </a:extLst>
          </p:cNvPr>
          <p:cNvSpPr>
            <a:spLocks noGrp="1"/>
          </p:cNvSpPr>
          <p:nvPr>
            <p:ph type="body" idx="1"/>
          </p:nvPr>
        </p:nvSpPr>
        <p:spPr>
          <a:xfrm>
            <a:off x="838200" y="1228300"/>
            <a:ext cx="10515600" cy="4948663"/>
          </a:xfrm>
        </p:spPr>
        <p:txBody>
          <a:bodyPr/>
          <a:lstStyle/>
          <a:p>
            <a:r>
              <a:rPr lang="en-US" dirty="0"/>
              <a:t>Client centered and client focused</a:t>
            </a:r>
          </a:p>
          <a:p>
            <a:r>
              <a:rPr lang="en-US" dirty="0"/>
              <a:t>Confidential</a:t>
            </a:r>
          </a:p>
          <a:p>
            <a:r>
              <a:rPr lang="en-US" dirty="0"/>
              <a:t>Voluntary and non-coercive</a:t>
            </a:r>
          </a:p>
          <a:p>
            <a:r>
              <a:rPr lang="en-US" dirty="0"/>
              <a:t>Non-judgmental</a:t>
            </a:r>
          </a:p>
          <a:p>
            <a:r>
              <a:rPr lang="en-US" dirty="0"/>
              <a:t>Culturally and linguistically appropriate</a:t>
            </a:r>
          </a:p>
          <a:p>
            <a:r>
              <a:rPr lang="en-US" dirty="0"/>
              <a:t>Accessible and available to all</a:t>
            </a:r>
          </a:p>
          <a:p>
            <a:r>
              <a:rPr lang="en-US" dirty="0"/>
              <a:t>Comprehensive and integrative</a:t>
            </a:r>
          </a:p>
          <a:p>
            <a:endParaRPr lang="en-US" dirty="0"/>
          </a:p>
        </p:txBody>
      </p:sp>
    </p:spTree>
    <p:extLst>
      <p:ext uri="{BB962C8B-B14F-4D97-AF65-F5344CB8AC3E}">
        <p14:creationId xmlns:p14="http://schemas.microsoft.com/office/powerpoint/2010/main" val="39968300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5115" y="172260"/>
            <a:ext cx="6825342" cy="571500"/>
          </a:xfrm>
        </p:spPr>
        <p:txBody>
          <a:bodyPr/>
          <a:lstStyle/>
          <a:p>
            <a:pPr algn="ctr"/>
            <a:r>
              <a:rPr lang="en-US" sz="3600" dirty="0"/>
              <a:t>The Index Contact Testing concept</a:t>
            </a:r>
          </a:p>
        </p:txBody>
      </p:sp>
      <p:pic>
        <p:nvPicPr>
          <p:cNvPr id="4" name="Picture 3"/>
          <p:cNvPicPr>
            <a:picLocks noChangeAspect="1"/>
          </p:cNvPicPr>
          <p:nvPr/>
        </p:nvPicPr>
        <p:blipFill>
          <a:blip r:embed="rId3"/>
          <a:stretch>
            <a:fillRect/>
          </a:stretch>
        </p:blipFill>
        <p:spPr>
          <a:xfrm>
            <a:off x="2829414" y="2370966"/>
            <a:ext cx="742857" cy="1311812"/>
          </a:xfrm>
          <a:prstGeom prst="rect">
            <a:avLst/>
          </a:prstGeom>
        </p:spPr>
      </p:pic>
      <p:sp>
        <p:nvSpPr>
          <p:cNvPr id="5" name="TextBox 4"/>
          <p:cNvSpPr txBox="1"/>
          <p:nvPr/>
        </p:nvSpPr>
        <p:spPr>
          <a:xfrm>
            <a:off x="2982535" y="2904992"/>
            <a:ext cx="405684" cy="369332"/>
          </a:xfrm>
          <a:prstGeom prst="rect">
            <a:avLst/>
          </a:prstGeom>
          <a:noFill/>
        </p:spPr>
        <p:txBody>
          <a:bodyPr wrap="square" rtlCol="0">
            <a:spAutoFit/>
          </a:bodyPr>
          <a:lstStyle/>
          <a:p>
            <a:r>
              <a:rPr lang="en-US" sz="900" dirty="0">
                <a:solidFill>
                  <a:srgbClr val="FF0000"/>
                </a:solidFill>
              </a:rPr>
              <a:t>+VE</a:t>
            </a:r>
          </a:p>
        </p:txBody>
      </p:sp>
      <p:pic>
        <p:nvPicPr>
          <p:cNvPr id="7" name="Picture 6"/>
          <p:cNvPicPr>
            <a:picLocks noChangeAspect="1"/>
          </p:cNvPicPr>
          <p:nvPr/>
        </p:nvPicPr>
        <p:blipFill>
          <a:blip r:embed="rId4"/>
          <a:stretch>
            <a:fillRect/>
          </a:stretch>
        </p:blipFill>
        <p:spPr>
          <a:xfrm>
            <a:off x="2854605" y="4698744"/>
            <a:ext cx="1068332" cy="1127899"/>
          </a:xfrm>
          <a:prstGeom prst="rect">
            <a:avLst/>
          </a:prstGeom>
        </p:spPr>
      </p:pic>
      <p:pic>
        <p:nvPicPr>
          <p:cNvPr id="8" name="Picture 7"/>
          <p:cNvPicPr>
            <a:picLocks noChangeAspect="1"/>
          </p:cNvPicPr>
          <p:nvPr/>
        </p:nvPicPr>
        <p:blipFill>
          <a:blip r:embed="rId5"/>
          <a:stretch>
            <a:fillRect/>
          </a:stretch>
        </p:blipFill>
        <p:spPr>
          <a:xfrm>
            <a:off x="4164173" y="2090413"/>
            <a:ext cx="766145" cy="1629159"/>
          </a:xfrm>
          <a:prstGeom prst="rect">
            <a:avLst/>
          </a:prstGeom>
        </p:spPr>
      </p:pic>
      <p:pic>
        <p:nvPicPr>
          <p:cNvPr id="15" name="Picture 14"/>
          <p:cNvPicPr>
            <a:picLocks noChangeAspect="1"/>
          </p:cNvPicPr>
          <p:nvPr/>
        </p:nvPicPr>
        <p:blipFill>
          <a:blip r:embed="rId5"/>
          <a:stretch>
            <a:fillRect/>
          </a:stretch>
        </p:blipFill>
        <p:spPr>
          <a:xfrm>
            <a:off x="4164173" y="3864311"/>
            <a:ext cx="766145" cy="1629159"/>
          </a:xfrm>
          <a:prstGeom prst="rect">
            <a:avLst/>
          </a:prstGeom>
        </p:spPr>
      </p:pic>
      <p:sp>
        <p:nvSpPr>
          <p:cNvPr id="16" name="Right Arrow 15"/>
          <p:cNvSpPr/>
          <p:nvPr/>
        </p:nvSpPr>
        <p:spPr>
          <a:xfrm>
            <a:off x="3521318" y="2904992"/>
            <a:ext cx="875218" cy="8800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2060"/>
                </a:solidFill>
              </a:rPr>
              <a:t>Elicitation</a:t>
            </a:r>
            <a:endParaRPr lang="en-US" dirty="0">
              <a:solidFill>
                <a:srgbClr val="002060"/>
              </a:solidFill>
            </a:endParaRPr>
          </a:p>
        </p:txBody>
      </p:sp>
      <p:sp>
        <p:nvSpPr>
          <p:cNvPr id="18" name="Right Arrow 17"/>
          <p:cNvSpPr/>
          <p:nvPr/>
        </p:nvSpPr>
        <p:spPr>
          <a:xfrm rot="2779710">
            <a:off x="3241775" y="3691293"/>
            <a:ext cx="1231049" cy="8183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002060"/>
                </a:solidFill>
              </a:rPr>
              <a:t>Elicitation</a:t>
            </a:r>
          </a:p>
        </p:txBody>
      </p:sp>
      <p:sp>
        <p:nvSpPr>
          <p:cNvPr id="19" name="Right Arrow 18"/>
          <p:cNvSpPr/>
          <p:nvPr/>
        </p:nvSpPr>
        <p:spPr>
          <a:xfrm rot="5400000">
            <a:off x="2809792" y="4199957"/>
            <a:ext cx="1032911" cy="1239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rgbClr val="002060"/>
                </a:solidFill>
              </a:rPr>
              <a:t>Elicitation</a:t>
            </a:r>
            <a:endParaRPr lang="en-US" dirty="0">
              <a:solidFill>
                <a:srgbClr val="002060"/>
              </a:solidFill>
            </a:endParaRPr>
          </a:p>
        </p:txBody>
      </p:sp>
      <p:sp>
        <p:nvSpPr>
          <p:cNvPr id="20" name="TextBox 19"/>
          <p:cNvSpPr txBox="1"/>
          <p:nvPr/>
        </p:nvSpPr>
        <p:spPr>
          <a:xfrm>
            <a:off x="4696701" y="3084585"/>
            <a:ext cx="405684" cy="369332"/>
          </a:xfrm>
          <a:prstGeom prst="rect">
            <a:avLst/>
          </a:prstGeom>
          <a:noFill/>
        </p:spPr>
        <p:txBody>
          <a:bodyPr wrap="square" rtlCol="0">
            <a:spAutoFit/>
          </a:bodyPr>
          <a:lstStyle/>
          <a:p>
            <a:r>
              <a:rPr lang="en-US" sz="900" dirty="0">
                <a:solidFill>
                  <a:srgbClr val="FF0000"/>
                </a:solidFill>
              </a:rPr>
              <a:t>+VE</a:t>
            </a:r>
          </a:p>
        </p:txBody>
      </p:sp>
      <p:sp>
        <p:nvSpPr>
          <p:cNvPr id="21" name="TextBox 20"/>
          <p:cNvSpPr txBox="1"/>
          <p:nvPr/>
        </p:nvSpPr>
        <p:spPr>
          <a:xfrm>
            <a:off x="4696703" y="4956850"/>
            <a:ext cx="278825" cy="369332"/>
          </a:xfrm>
          <a:prstGeom prst="rect">
            <a:avLst/>
          </a:prstGeom>
          <a:noFill/>
        </p:spPr>
        <p:txBody>
          <a:bodyPr wrap="square" rtlCol="0">
            <a:spAutoFit/>
          </a:bodyPr>
          <a:lstStyle/>
          <a:p>
            <a:r>
              <a:rPr lang="en-US" dirty="0">
                <a:solidFill>
                  <a:srgbClr val="FF0000"/>
                </a:solidFill>
              </a:rPr>
              <a:t>?</a:t>
            </a:r>
          </a:p>
        </p:txBody>
      </p:sp>
      <p:pic>
        <p:nvPicPr>
          <p:cNvPr id="22" name="Picture 21"/>
          <p:cNvPicPr>
            <a:picLocks noChangeAspect="1"/>
          </p:cNvPicPr>
          <p:nvPr/>
        </p:nvPicPr>
        <p:blipFill>
          <a:blip r:embed="rId6"/>
          <a:stretch>
            <a:fillRect/>
          </a:stretch>
        </p:blipFill>
        <p:spPr>
          <a:xfrm>
            <a:off x="6063440" y="1944820"/>
            <a:ext cx="513583" cy="1280534"/>
          </a:xfrm>
          <a:prstGeom prst="rect">
            <a:avLst/>
          </a:prstGeom>
        </p:spPr>
      </p:pic>
      <p:sp>
        <p:nvSpPr>
          <p:cNvPr id="23" name="Right Arrow 22"/>
          <p:cNvSpPr/>
          <p:nvPr/>
        </p:nvSpPr>
        <p:spPr>
          <a:xfrm>
            <a:off x="5067302" y="2623268"/>
            <a:ext cx="788119" cy="10245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rgbClr val="002060"/>
                </a:solidFill>
              </a:rPr>
              <a:t>Elicitation</a:t>
            </a:r>
            <a:endParaRPr lang="en-US" sz="1200" dirty="0">
              <a:solidFill>
                <a:srgbClr val="002060"/>
              </a:solidFill>
            </a:endParaRPr>
          </a:p>
        </p:txBody>
      </p:sp>
      <p:sp>
        <p:nvSpPr>
          <p:cNvPr id="24" name="Right Arrow 23"/>
          <p:cNvSpPr/>
          <p:nvPr/>
        </p:nvSpPr>
        <p:spPr>
          <a:xfrm rot="1717885">
            <a:off x="5088575" y="3143632"/>
            <a:ext cx="935421" cy="726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2060"/>
                </a:solidFill>
              </a:rPr>
              <a:t>Elicitation</a:t>
            </a:r>
            <a:endParaRPr lang="en-US" dirty="0">
              <a:solidFill>
                <a:srgbClr val="002060"/>
              </a:solidFill>
            </a:endParaRPr>
          </a:p>
        </p:txBody>
      </p:sp>
      <p:pic>
        <p:nvPicPr>
          <p:cNvPr id="25" name="Picture 24"/>
          <p:cNvPicPr>
            <a:picLocks noChangeAspect="1"/>
          </p:cNvPicPr>
          <p:nvPr/>
        </p:nvPicPr>
        <p:blipFill>
          <a:blip r:embed="rId6"/>
          <a:stretch>
            <a:fillRect/>
          </a:stretch>
        </p:blipFill>
        <p:spPr>
          <a:xfrm>
            <a:off x="6071491" y="3140944"/>
            <a:ext cx="513583" cy="1280534"/>
          </a:xfrm>
          <a:prstGeom prst="rect">
            <a:avLst/>
          </a:prstGeom>
        </p:spPr>
      </p:pic>
      <p:pic>
        <p:nvPicPr>
          <p:cNvPr id="26" name="Picture 25"/>
          <p:cNvPicPr>
            <a:picLocks noChangeAspect="1"/>
          </p:cNvPicPr>
          <p:nvPr/>
        </p:nvPicPr>
        <p:blipFill>
          <a:blip r:embed="rId5"/>
          <a:stretch>
            <a:fillRect/>
          </a:stretch>
        </p:blipFill>
        <p:spPr>
          <a:xfrm>
            <a:off x="7013358" y="3228449"/>
            <a:ext cx="296034" cy="629497"/>
          </a:xfrm>
          <a:prstGeom prst="rect">
            <a:avLst/>
          </a:prstGeom>
        </p:spPr>
      </p:pic>
      <p:pic>
        <p:nvPicPr>
          <p:cNvPr id="27" name="Picture 26"/>
          <p:cNvPicPr>
            <a:picLocks noChangeAspect="1"/>
          </p:cNvPicPr>
          <p:nvPr/>
        </p:nvPicPr>
        <p:blipFill>
          <a:blip r:embed="rId5"/>
          <a:stretch>
            <a:fillRect/>
          </a:stretch>
        </p:blipFill>
        <p:spPr>
          <a:xfrm>
            <a:off x="7041570" y="4022692"/>
            <a:ext cx="296034" cy="629497"/>
          </a:xfrm>
          <a:prstGeom prst="rect">
            <a:avLst/>
          </a:prstGeom>
        </p:spPr>
      </p:pic>
      <p:sp>
        <p:nvSpPr>
          <p:cNvPr id="28" name="Right Arrow 27"/>
          <p:cNvSpPr/>
          <p:nvPr/>
        </p:nvSpPr>
        <p:spPr>
          <a:xfrm>
            <a:off x="6641213" y="3562618"/>
            <a:ext cx="290678" cy="460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ight Arrow 28"/>
          <p:cNvSpPr/>
          <p:nvPr/>
        </p:nvSpPr>
        <p:spPr>
          <a:xfrm rot="1717885">
            <a:off x="6640150" y="4021144"/>
            <a:ext cx="345006"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p:cNvPicPr>
            <a:picLocks noChangeAspect="1"/>
          </p:cNvPicPr>
          <p:nvPr/>
        </p:nvPicPr>
        <p:blipFill>
          <a:blip r:embed="rId4"/>
          <a:stretch>
            <a:fillRect/>
          </a:stretch>
        </p:blipFill>
        <p:spPr>
          <a:xfrm>
            <a:off x="6532285" y="4652343"/>
            <a:ext cx="458924" cy="509294"/>
          </a:xfrm>
          <a:prstGeom prst="rect">
            <a:avLst/>
          </a:prstGeom>
        </p:spPr>
      </p:pic>
      <p:sp>
        <p:nvSpPr>
          <p:cNvPr id="31" name="Right Arrow 30"/>
          <p:cNvSpPr/>
          <p:nvPr/>
        </p:nvSpPr>
        <p:spPr>
          <a:xfrm rot="3443768">
            <a:off x="6420260" y="4485433"/>
            <a:ext cx="356028" cy="362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p:cNvSpPr txBox="1"/>
          <p:nvPr/>
        </p:nvSpPr>
        <p:spPr>
          <a:xfrm>
            <a:off x="6438369" y="2595582"/>
            <a:ext cx="405684" cy="230832"/>
          </a:xfrm>
          <a:prstGeom prst="rect">
            <a:avLst/>
          </a:prstGeom>
          <a:noFill/>
        </p:spPr>
        <p:txBody>
          <a:bodyPr wrap="square" rtlCol="0">
            <a:spAutoFit/>
          </a:bodyPr>
          <a:lstStyle/>
          <a:p>
            <a:r>
              <a:rPr lang="en-US" sz="900" dirty="0">
                <a:solidFill>
                  <a:srgbClr val="FF0000"/>
                </a:solidFill>
              </a:rPr>
              <a:t>-VE</a:t>
            </a:r>
          </a:p>
        </p:txBody>
      </p:sp>
      <p:sp>
        <p:nvSpPr>
          <p:cNvPr id="33" name="TextBox 32"/>
          <p:cNvSpPr txBox="1"/>
          <p:nvPr/>
        </p:nvSpPr>
        <p:spPr>
          <a:xfrm>
            <a:off x="6450186" y="3587312"/>
            <a:ext cx="405684" cy="369332"/>
          </a:xfrm>
          <a:prstGeom prst="rect">
            <a:avLst/>
          </a:prstGeom>
          <a:noFill/>
        </p:spPr>
        <p:txBody>
          <a:bodyPr wrap="square" rtlCol="0">
            <a:spAutoFit/>
          </a:bodyPr>
          <a:lstStyle/>
          <a:p>
            <a:r>
              <a:rPr lang="en-US" sz="900" dirty="0">
                <a:solidFill>
                  <a:srgbClr val="FF0000"/>
                </a:solidFill>
              </a:rPr>
              <a:t>+VE</a:t>
            </a:r>
          </a:p>
        </p:txBody>
      </p:sp>
      <p:sp>
        <p:nvSpPr>
          <p:cNvPr id="34" name="TextBox 33"/>
          <p:cNvSpPr txBox="1"/>
          <p:nvPr/>
        </p:nvSpPr>
        <p:spPr>
          <a:xfrm>
            <a:off x="7267575" y="3982762"/>
            <a:ext cx="405684" cy="207749"/>
          </a:xfrm>
          <a:prstGeom prst="rect">
            <a:avLst/>
          </a:prstGeom>
          <a:noFill/>
        </p:spPr>
        <p:txBody>
          <a:bodyPr wrap="square" rtlCol="0">
            <a:spAutoFit/>
          </a:bodyPr>
          <a:lstStyle/>
          <a:p>
            <a:r>
              <a:rPr lang="en-US" sz="750" dirty="0">
                <a:solidFill>
                  <a:srgbClr val="FF0000"/>
                </a:solidFill>
              </a:rPr>
              <a:t>+VE</a:t>
            </a:r>
          </a:p>
        </p:txBody>
      </p:sp>
      <p:pic>
        <p:nvPicPr>
          <p:cNvPr id="35" name="Picture 34"/>
          <p:cNvPicPr>
            <a:picLocks noChangeAspect="1"/>
          </p:cNvPicPr>
          <p:nvPr/>
        </p:nvPicPr>
        <p:blipFill>
          <a:blip r:embed="rId6"/>
          <a:stretch>
            <a:fillRect/>
          </a:stretch>
        </p:blipFill>
        <p:spPr>
          <a:xfrm>
            <a:off x="7543594" y="3175563"/>
            <a:ext cx="149216" cy="372044"/>
          </a:xfrm>
          <a:prstGeom prst="rect">
            <a:avLst/>
          </a:prstGeom>
        </p:spPr>
      </p:pic>
      <p:sp>
        <p:nvSpPr>
          <p:cNvPr id="36" name="Right Arrow 35"/>
          <p:cNvSpPr/>
          <p:nvPr/>
        </p:nvSpPr>
        <p:spPr>
          <a:xfrm>
            <a:off x="7333206" y="3387168"/>
            <a:ext cx="130901"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ight Arrow 36"/>
          <p:cNvSpPr/>
          <p:nvPr/>
        </p:nvSpPr>
        <p:spPr>
          <a:xfrm rot="1717885">
            <a:off x="7348526" y="3571178"/>
            <a:ext cx="155366"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Picture 37"/>
          <p:cNvPicPr>
            <a:picLocks noChangeAspect="1"/>
          </p:cNvPicPr>
          <p:nvPr/>
        </p:nvPicPr>
        <p:blipFill>
          <a:blip r:embed="rId6"/>
          <a:stretch>
            <a:fillRect/>
          </a:stretch>
        </p:blipFill>
        <p:spPr>
          <a:xfrm>
            <a:off x="7543594" y="3492268"/>
            <a:ext cx="149216" cy="372044"/>
          </a:xfrm>
          <a:prstGeom prst="rect">
            <a:avLst/>
          </a:prstGeom>
        </p:spPr>
      </p:pic>
      <p:pic>
        <p:nvPicPr>
          <p:cNvPr id="39" name="Picture 38"/>
          <p:cNvPicPr>
            <a:picLocks noChangeAspect="1"/>
          </p:cNvPicPr>
          <p:nvPr/>
        </p:nvPicPr>
        <p:blipFill>
          <a:blip r:embed="rId6"/>
          <a:stretch>
            <a:fillRect/>
          </a:stretch>
        </p:blipFill>
        <p:spPr>
          <a:xfrm>
            <a:off x="7543594" y="2788221"/>
            <a:ext cx="149216" cy="372044"/>
          </a:xfrm>
          <a:prstGeom prst="rect">
            <a:avLst/>
          </a:prstGeom>
        </p:spPr>
      </p:pic>
      <p:sp>
        <p:nvSpPr>
          <p:cNvPr id="40" name="Right Arrow 39"/>
          <p:cNvSpPr/>
          <p:nvPr/>
        </p:nvSpPr>
        <p:spPr>
          <a:xfrm rot="18569039">
            <a:off x="7260156" y="3109559"/>
            <a:ext cx="299099" cy="385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p:cNvSpPr txBox="1"/>
          <p:nvPr/>
        </p:nvSpPr>
        <p:spPr>
          <a:xfrm>
            <a:off x="7610475" y="3258859"/>
            <a:ext cx="405684" cy="184666"/>
          </a:xfrm>
          <a:prstGeom prst="rect">
            <a:avLst/>
          </a:prstGeom>
          <a:noFill/>
        </p:spPr>
        <p:txBody>
          <a:bodyPr wrap="square" rtlCol="0">
            <a:spAutoFit/>
          </a:bodyPr>
          <a:lstStyle/>
          <a:p>
            <a:r>
              <a:rPr lang="en-US" sz="600" dirty="0">
                <a:solidFill>
                  <a:srgbClr val="FF0000"/>
                </a:solidFill>
              </a:rPr>
              <a:t>-VE</a:t>
            </a:r>
          </a:p>
        </p:txBody>
      </p:sp>
      <p:sp>
        <p:nvSpPr>
          <p:cNvPr id="42" name="TextBox 41"/>
          <p:cNvSpPr txBox="1"/>
          <p:nvPr/>
        </p:nvSpPr>
        <p:spPr>
          <a:xfrm>
            <a:off x="7618204" y="2912147"/>
            <a:ext cx="249448" cy="334707"/>
          </a:xfrm>
          <a:prstGeom prst="rect">
            <a:avLst/>
          </a:prstGeom>
          <a:noFill/>
        </p:spPr>
        <p:txBody>
          <a:bodyPr wrap="square" rtlCol="0">
            <a:spAutoFit/>
          </a:bodyPr>
          <a:lstStyle/>
          <a:p>
            <a:r>
              <a:rPr lang="en-US" sz="525" dirty="0">
                <a:solidFill>
                  <a:srgbClr val="FF0000"/>
                </a:solidFill>
              </a:rPr>
              <a:t>+VE</a:t>
            </a:r>
          </a:p>
        </p:txBody>
      </p:sp>
      <p:pic>
        <p:nvPicPr>
          <p:cNvPr id="43" name="Picture 42"/>
          <p:cNvPicPr>
            <a:picLocks noChangeAspect="1"/>
          </p:cNvPicPr>
          <p:nvPr/>
        </p:nvPicPr>
        <p:blipFill>
          <a:blip r:embed="rId5"/>
          <a:stretch>
            <a:fillRect/>
          </a:stretch>
        </p:blipFill>
        <p:spPr>
          <a:xfrm>
            <a:off x="7947169" y="2663776"/>
            <a:ext cx="110073" cy="234064"/>
          </a:xfrm>
          <a:prstGeom prst="rect">
            <a:avLst/>
          </a:prstGeom>
        </p:spPr>
      </p:pic>
      <p:pic>
        <p:nvPicPr>
          <p:cNvPr id="44" name="Picture 43"/>
          <p:cNvPicPr>
            <a:picLocks noChangeAspect="1"/>
          </p:cNvPicPr>
          <p:nvPr/>
        </p:nvPicPr>
        <p:blipFill>
          <a:blip r:embed="rId5"/>
          <a:stretch>
            <a:fillRect/>
          </a:stretch>
        </p:blipFill>
        <p:spPr>
          <a:xfrm>
            <a:off x="7962525" y="2878268"/>
            <a:ext cx="110073" cy="234064"/>
          </a:xfrm>
          <a:prstGeom prst="rect">
            <a:avLst/>
          </a:prstGeom>
        </p:spPr>
      </p:pic>
      <p:sp>
        <p:nvSpPr>
          <p:cNvPr id="45" name="Right Arrow 44"/>
          <p:cNvSpPr/>
          <p:nvPr/>
        </p:nvSpPr>
        <p:spPr>
          <a:xfrm>
            <a:off x="7813319" y="2833040"/>
            <a:ext cx="57314"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ight Arrow 45"/>
          <p:cNvSpPr/>
          <p:nvPr/>
        </p:nvSpPr>
        <p:spPr>
          <a:xfrm rot="1717885">
            <a:off x="7800309" y="2944505"/>
            <a:ext cx="68026"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Picture 46"/>
          <p:cNvPicPr>
            <a:picLocks noChangeAspect="1"/>
          </p:cNvPicPr>
          <p:nvPr/>
        </p:nvPicPr>
        <p:blipFill>
          <a:blip r:embed="rId4"/>
          <a:stretch>
            <a:fillRect/>
          </a:stretch>
        </p:blipFill>
        <p:spPr>
          <a:xfrm>
            <a:off x="7877204" y="3122527"/>
            <a:ext cx="170640" cy="189369"/>
          </a:xfrm>
          <a:prstGeom prst="rect">
            <a:avLst/>
          </a:prstGeom>
        </p:spPr>
      </p:pic>
      <p:sp>
        <p:nvSpPr>
          <p:cNvPr id="48" name="Right Arrow 47"/>
          <p:cNvSpPr/>
          <p:nvPr/>
        </p:nvSpPr>
        <p:spPr>
          <a:xfrm rot="2906159">
            <a:off x="7774017" y="3060356"/>
            <a:ext cx="132380"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p:cNvSpPr txBox="1"/>
          <p:nvPr/>
        </p:nvSpPr>
        <p:spPr>
          <a:xfrm>
            <a:off x="7608679" y="3583659"/>
            <a:ext cx="249448" cy="334707"/>
          </a:xfrm>
          <a:prstGeom prst="rect">
            <a:avLst/>
          </a:prstGeom>
          <a:noFill/>
        </p:spPr>
        <p:txBody>
          <a:bodyPr wrap="square" rtlCol="0">
            <a:spAutoFit/>
          </a:bodyPr>
          <a:lstStyle/>
          <a:p>
            <a:r>
              <a:rPr lang="en-US" sz="525" dirty="0">
                <a:solidFill>
                  <a:srgbClr val="FF0000"/>
                </a:solidFill>
              </a:rPr>
              <a:t>+VE</a:t>
            </a:r>
          </a:p>
        </p:txBody>
      </p:sp>
      <p:pic>
        <p:nvPicPr>
          <p:cNvPr id="50" name="Picture 49"/>
          <p:cNvPicPr>
            <a:picLocks noChangeAspect="1"/>
          </p:cNvPicPr>
          <p:nvPr/>
        </p:nvPicPr>
        <p:blipFill>
          <a:blip r:embed="rId5"/>
          <a:stretch>
            <a:fillRect/>
          </a:stretch>
        </p:blipFill>
        <p:spPr>
          <a:xfrm>
            <a:off x="7928119" y="3416251"/>
            <a:ext cx="110073" cy="234064"/>
          </a:xfrm>
          <a:prstGeom prst="rect">
            <a:avLst/>
          </a:prstGeom>
        </p:spPr>
      </p:pic>
      <p:pic>
        <p:nvPicPr>
          <p:cNvPr id="51" name="Picture 50"/>
          <p:cNvPicPr>
            <a:picLocks noChangeAspect="1"/>
          </p:cNvPicPr>
          <p:nvPr/>
        </p:nvPicPr>
        <p:blipFill>
          <a:blip r:embed="rId5"/>
          <a:stretch>
            <a:fillRect/>
          </a:stretch>
        </p:blipFill>
        <p:spPr>
          <a:xfrm>
            <a:off x="7943475" y="3630743"/>
            <a:ext cx="110073" cy="234064"/>
          </a:xfrm>
          <a:prstGeom prst="rect">
            <a:avLst/>
          </a:prstGeom>
        </p:spPr>
      </p:pic>
      <p:sp>
        <p:nvSpPr>
          <p:cNvPr id="52" name="Right Arrow 51"/>
          <p:cNvSpPr/>
          <p:nvPr/>
        </p:nvSpPr>
        <p:spPr>
          <a:xfrm>
            <a:off x="7794269" y="3585515"/>
            <a:ext cx="57314"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ight Arrow 52"/>
          <p:cNvSpPr/>
          <p:nvPr/>
        </p:nvSpPr>
        <p:spPr>
          <a:xfrm rot="1717885">
            <a:off x="7781259" y="3696980"/>
            <a:ext cx="68026"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Picture 53"/>
          <p:cNvPicPr>
            <a:picLocks noChangeAspect="1"/>
          </p:cNvPicPr>
          <p:nvPr/>
        </p:nvPicPr>
        <p:blipFill>
          <a:blip r:embed="rId4"/>
          <a:stretch>
            <a:fillRect/>
          </a:stretch>
        </p:blipFill>
        <p:spPr>
          <a:xfrm>
            <a:off x="7858154" y="3875002"/>
            <a:ext cx="170640" cy="189369"/>
          </a:xfrm>
          <a:prstGeom prst="rect">
            <a:avLst/>
          </a:prstGeom>
        </p:spPr>
      </p:pic>
      <p:sp>
        <p:nvSpPr>
          <p:cNvPr id="55" name="Right Arrow 54"/>
          <p:cNvSpPr/>
          <p:nvPr/>
        </p:nvSpPr>
        <p:spPr>
          <a:xfrm rot="2906159">
            <a:off x="7754967" y="3812831"/>
            <a:ext cx="132380"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p:cNvSpPr txBox="1"/>
          <p:nvPr/>
        </p:nvSpPr>
        <p:spPr>
          <a:xfrm>
            <a:off x="7991475" y="3458886"/>
            <a:ext cx="405684" cy="161583"/>
          </a:xfrm>
          <a:prstGeom prst="rect">
            <a:avLst/>
          </a:prstGeom>
          <a:noFill/>
        </p:spPr>
        <p:txBody>
          <a:bodyPr wrap="square" rtlCol="0">
            <a:spAutoFit/>
          </a:bodyPr>
          <a:lstStyle/>
          <a:p>
            <a:r>
              <a:rPr lang="en-US" sz="450" dirty="0">
                <a:solidFill>
                  <a:srgbClr val="FF0000"/>
                </a:solidFill>
              </a:rPr>
              <a:t>-VE</a:t>
            </a:r>
          </a:p>
        </p:txBody>
      </p:sp>
      <p:sp>
        <p:nvSpPr>
          <p:cNvPr id="57" name="TextBox 56"/>
          <p:cNvSpPr txBox="1"/>
          <p:nvPr/>
        </p:nvSpPr>
        <p:spPr>
          <a:xfrm>
            <a:off x="7989679" y="3697957"/>
            <a:ext cx="249448" cy="300082"/>
          </a:xfrm>
          <a:prstGeom prst="rect">
            <a:avLst/>
          </a:prstGeom>
          <a:noFill/>
        </p:spPr>
        <p:txBody>
          <a:bodyPr wrap="square" rtlCol="0">
            <a:spAutoFit/>
          </a:bodyPr>
          <a:lstStyle/>
          <a:p>
            <a:r>
              <a:rPr lang="en-US" sz="450" dirty="0">
                <a:solidFill>
                  <a:srgbClr val="FF0000"/>
                </a:solidFill>
              </a:rPr>
              <a:t>+VE</a:t>
            </a:r>
          </a:p>
        </p:txBody>
      </p:sp>
      <p:sp>
        <p:nvSpPr>
          <p:cNvPr id="58" name="TextBox 57"/>
          <p:cNvSpPr txBox="1"/>
          <p:nvPr/>
        </p:nvSpPr>
        <p:spPr>
          <a:xfrm>
            <a:off x="8018930" y="2705743"/>
            <a:ext cx="316241" cy="184666"/>
          </a:xfrm>
          <a:prstGeom prst="rect">
            <a:avLst/>
          </a:prstGeom>
          <a:noFill/>
        </p:spPr>
        <p:txBody>
          <a:bodyPr wrap="square" rtlCol="0">
            <a:spAutoFit/>
          </a:bodyPr>
          <a:lstStyle/>
          <a:p>
            <a:r>
              <a:rPr lang="en-US" sz="600" dirty="0">
                <a:solidFill>
                  <a:srgbClr val="FF0000"/>
                </a:solidFill>
              </a:rPr>
              <a:t>-VE</a:t>
            </a:r>
          </a:p>
        </p:txBody>
      </p:sp>
      <p:sp>
        <p:nvSpPr>
          <p:cNvPr id="59" name="TextBox 58"/>
          <p:cNvSpPr txBox="1"/>
          <p:nvPr/>
        </p:nvSpPr>
        <p:spPr>
          <a:xfrm>
            <a:off x="7998511" y="2905868"/>
            <a:ext cx="405684" cy="161583"/>
          </a:xfrm>
          <a:prstGeom prst="rect">
            <a:avLst/>
          </a:prstGeom>
          <a:noFill/>
        </p:spPr>
        <p:txBody>
          <a:bodyPr wrap="square" rtlCol="0">
            <a:spAutoFit/>
          </a:bodyPr>
          <a:lstStyle/>
          <a:p>
            <a:r>
              <a:rPr lang="en-US" sz="450" dirty="0">
                <a:solidFill>
                  <a:srgbClr val="FF0000"/>
                </a:solidFill>
              </a:rPr>
              <a:t>-VE</a:t>
            </a:r>
          </a:p>
        </p:txBody>
      </p:sp>
      <p:sp>
        <p:nvSpPr>
          <p:cNvPr id="60" name="TextBox 59"/>
          <p:cNvSpPr txBox="1"/>
          <p:nvPr/>
        </p:nvSpPr>
        <p:spPr>
          <a:xfrm>
            <a:off x="7213997" y="3438709"/>
            <a:ext cx="405684" cy="207749"/>
          </a:xfrm>
          <a:prstGeom prst="rect">
            <a:avLst/>
          </a:prstGeom>
          <a:noFill/>
        </p:spPr>
        <p:txBody>
          <a:bodyPr wrap="square" rtlCol="0">
            <a:spAutoFit/>
          </a:bodyPr>
          <a:lstStyle/>
          <a:p>
            <a:r>
              <a:rPr lang="en-US" sz="750" dirty="0">
                <a:solidFill>
                  <a:srgbClr val="FF0000"/>
                </a:solidFill>
              </a:rPr>
              <a:t>+VE</a:t>
            </a:r>
          </a:p>
        </p:txBody>
      </p:sp>
      <p:pic>
        <p:nvPicPr>
          <p:cNvPr id="61" name="Picture 60"/>
          <p:cNvPicPr>
            <a:picLocks noChangeAspect="1"/>
          </p:cNvPicPr>
          <p:nvPr/>
        </p:nvPicPr>
        <p:blipFill>
          <a:blip r:embed="rId5"/>
          <a:stretch>
            <a:fillRect/>
          </a:stretch>
        </p:blipFill>
        <p:spPr>
          <a:xfrm>
            <a:off x="7567836" y="4165661"/>
            <a:ext cx="171603" cy="364903"/>
          </a:xfrm>
          <a:prstGeom prst="rect">
            <a:avLst/>
          </a:prstGeom>
        </p:spPr>
      </p:pic>
      <p:pic>
        <p:nvPicPr>
          <p:cNvPr id="62" name="Picture 61"/>
          <p:cNvPicPr>
            <a:picLocks noChangeAspect="1"/>
          </p:cNvPicPr>
          <p:nvPr/>
        </p:nvPicPr>
        <p:blipFill>
          <a:blip r:embed="rId6"/>
          <a:stretch>
            <a:fillRect/>
          </a:stretch>
        </p:blipFill>
        <p:spPr>
          <a:xfrm>
            <a:off x="7601455" y="4495927"/>
            <a:ext cx="149216" cy="372044"/>
          </a:xfrm>
          <a:prstGeom prst="rect">
            <a:avLst/>
          </a:prstGeom>
        </p:spPr>
      </p:pic>
      <p:sp>
        <p:nvSpPr>
          <p:cNvPr id="63" name="Right Arrow 62"/>
          <p:cNvSpPr/>
          <p:nvPr/>
        </p:nvSpPr>
        <p:spPr>
          <a:xfrm rot="3077250">
            <a:off x="7199501" y="4763412"/>
            <a:ext cx="458551"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 name="Picture 63"/>
          <p:cNvPicPr>
            <a:picLocks noChangeAspect="1"/>
          </p:cNvPicPr>
          <p:nvPr/>
        </p:nvPicPr>
        <p:blipFill>
          <a:blip r:embed="rId6"/>
          <a:stretch>
            <a:fillRect/>
          </a:stretch>
        </p:blipFill>
        <p:spPr>
          <a:xfrm>
            <a:off x="7591219" y="4925221"/>
            <a:ext cx="149216" cy="372044"/>
          </a:xfrm>
          <a:prstGeom prst="rect">
            <a:avLst/>
          </a:prstGeom>
        </p:spPr>
      </p:pic>
      <p:pic>
        <p:nvPicPr>
          <p:cNvPr id="65" name="Picture 64"/>
          <p:cNvPicPr>
            <a:picLocks noChangeAspect="1"/>
          </p:cNvPicPr>
          <p:nvPr/>
        </p:nvPicPr>
        <p:blipFill>
          <a:blip r:embed="rId4"/>
          <a:stretch>
            <a:fillRect/>
          </a:stretch>
        </p:blipFill>
        <p:spPr>
          <a:xfrm>
            <a:off x="7863628" y="5328435"/>
            <a:ext cx="170640" cy="189369"/>
          </a:xfrm>
          <a:prstGeom prst="rect">
            <a:avLst/>
          </a:prstGeom>
        </p:spPr>
      </p:pic>
      <p:sp>
        <p:nvSpPr>
          <p:cNvPr id="66" name="Right Arrow 65"/>
          <p:cNvSpPr/>
          <p:nvPr/>
        </p:nvSpPr>
        <p:spPr>
          <a:xfrm rot="2906159">
            <a:off x="7736628" y="5246503"/>
            <a:ext cx="132380"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ight Arrow 68"/>
          <p:cNvSpPr/>
          <p:nvPr/>
        </p:nvSpPr>
        <p:spPr>
          <a:xfrm rot="2451996">
            <a:off x="7270020" y="4530833"/>
            <a:ext cx="345020" cy="357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ight Arrow 69"/>
          <p:cNvSpPr/>
          <p:nvPr/>
        </p:nvSpPr>
        <p:spPr>
          <a:xfrm>
            <a:off x="7319001" y="4355803"/>
            <a:ext cx="254846"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Box 71"/>
          <p:cNvSpPr txBox="1"/>
          <p:nvPr/>
        </p:nvSpPr>
        <p:spPr>
          <a:xfrm>
            <a:off x="7690353" y="4266051"/>
            <a:ext cx="249448" cy="334707"/>
          </a:xfrm>
          <a:prstGeom prst="rect">
            <a:avLst/>
          </a:prstGeom>
          <a:noFill/>
        </p:spPr>
        <p:txBody>
          <a:bodyPr wrap="square" rtlCol="0">
            <a:spAutoFit/>
          </a:bodyPr>
          <a:lstStyle/>
          <a:p>
            <a:r>
              <a:rPr lang="en-US" sz="525" dirty="0">
                <a:solidFill>
                  <a:srgbClr val="FF0000"/>
                </a:solidFill>
              </a:rPr>
              <a:t>+VE</a:t>
            </a:r>
          </a:p>
        </p:txBody>
      </p:sp>
      <p:sp>
        <p:nvSpPr>
          <p:cNvPr id="73" name="TextBox 72"/>
          <p:cNvSpPr txBox="1"/>
          <p:nvPr/>
        </p:nvSpPr>
        <p:spPr>
          <a:xfrm>
            <a:off x="7697496" y="4667271"/>
            <a:ext cx="249448" cy="334707"/>
          </a:xfrm>
          <a:prstGeom prst="rect">
            <a:avLst/>
          </a:prstGeom>
          <a:noFill/>
        </p:spPr>
        <p:txBody>
          <a:bodyPr wrap="square" rtlCol="0">
            <a:spAutoFit/>
          </a:bodyPr>
          <a:lstStyle/>
          <a:p>
            <a:r>
              <a:rPr lang="en-US" sz="525" dirty="0">
                <a:solidFill>
                  <a:srgbClr val="FF0000"/>
                </a:solidFill>
              </a:rPr>
              <a:t>-VE</a:t>
            </a:r>
          </a:p>
        </p:txBody>
      </p:sp>
      <p:sp>
        <p:nvSpPr>
          <p:cNvPr id="74" name="TextBox 73"/>
          <p:cNvSpPr txBox="1"/>
          <p:nvPr/>
        </p:nvSpPr>
        <p:spPr>
          <a:xfrm>
            <a:off x="7668921" y="4908989"/>
            <a:ext cx="249448" cy="334707"/>
          </a:xfrm>
          <a:prstGeom prst="rect">
            <a:avLst/>
          </a:prstGeom>
          <a:noFill/>
        </p:spPr>
        <p:txBody>
          <a:bodyPr wrap="square" rtlCol="0">
            <a:spAutoFit/>
          </a:bodyPr>
          <a:lstStyle/>
          <a:p>
            <a:r>
              <a:rPr lang="en-US" sz="525" dirty="0">
                <a:solidFill>
                  <a:srgbClr val="FF0000"/>
                </a:solidFill>
              </a:rPr>
              <a:t>+VE</a:t>
            </a:r>
          </a:p>
        </p:txBody>
      </p:sp>
      <p:sp>
        <p:nvSpPr>
          <p:cNvPr id="80" name="Right Arrow 79"/>
          <p:cNvSpPr/>
          <p:nvPr/>
        </p:nvSpPr>
        <p:spPr>
          <a:xfrm rot="16200000">
            <a:off x="7104401" y="3939031"/>
            <a:ext cx="136425" cy="34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ight Arrow 80"/>
          <p:cNvSpPr/>
          <p:nvPr/>
        </p:nvSpPr>
        <p:spPr>
          <a:xfrm rot="11861105">
            <a:off x="3449595" y="3601549"/>
            <a:ext cx="3706079" cy="1043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4211208" y="1190372"/>
            <a:ext cx="3252899" cy="214313"/>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ew index client</a:t>
            </a:r>
          </a:p>
        </p:txBody>
      </p:sp>
      <p:sp>
        <p:nvSpPr>
          <p:cNvPr id="10" name="Down Arrow 9"/>
          <p:cNvSpPr/>
          <p:nvPr/>
        </p:nvSpPr>
        <p:spPr>
          <a:xfrm>
            <a:off x="4469567" y="1404684"/>
            <a:ext cx="56618" cy="685728"/>
          </a:xfrm>
          <a:prstGeom prst="down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own Arrow 10"/>
          <p:cNvSpPr/>
          <p:nvPr/>
        </p:nvSpPr>
        <p:spPr>
          <a:xfrm>
            <a:off x="6217822" y="1420100"/>
            <a:ext cx="110219" cy="1836441"/>
          </a:xfrm>
          <a:prstGeom prst="down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6"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56489" y="1564517"/>
            <a:ext cx="756880" cy="426605"/>
          </a:xfrm>
          <a:prstGeom prst="rect">
            <a:avLst/>
          </a:prstGeom>
        </p:spPr>
      </p:pic>
      <p:pic>
        <p:nvPicPr>
          <p:cNvPr id="77" name="Picture 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17475" y="3016871"/>
            <a:ext cx="367544" cy="207161"/>
          </a:xfrm>
          <a:prstGeom prst="rect">
            <a:avLst/>
          </a:prstGeom>
        </p:spPr>
      </p:pic>
      <p:pic>
        <p:nvPicPr>
          <p:cNvPr id="78" name="Picture 7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99546" y="3884600"/>
            <a:ext cx="277475" cy="156395"/>
          </a:xfrm>
          <a:prstGeom prst="rect">
            <a:avLst/>
          </a:prstGeom>
        </p:spPr>
      </p:pic>
      <p:pic>
        <p:nvPicPr>
          <p:cNvPr id="75" name="Picture 2"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059872" y="1105506"/>
            <a:ext cx="2347973" cy="15651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5342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ppt_x"/>
                                          </p:val>
                                        </p:tav>
                                        <p:tav tm="100000">
                                          <p:val>
                                            <p:strVal val="#ppt_x"/>
                                          </p:val>
                                        </p:tav>
                                      </p:tavLst>
                                    </p:anim>
                                    <p:anim calcmode="lin" valueType="num">
                                      <p:cBhvr additive="base">
                                        <p:cTn id="16" dur="500" fill="hold"/>
                                        <p:tgtEl>
                                          <p:spTgt spid="19"/>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ppt_x"/>
                                          </p:val>
                                        </p:tav>
                                        <p:tav tm="100000">
                                          <p:val>
                                            <p:strVal val="#ppt_x"/>
                                          </p:val>
                                        </p:tav>
                                      </p:tavLst>
                                    </p:anim>
                                    <p:anim calcmode="lin" valueType="num">
                                      <p:cBhvr additive="base">
                                        <p:cTn id="20" dur="500" fill="hold"/>
                                        <p:tgtEl>
                                          <p:spTgt spid="18"/>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500" fill="hold"/>
                                        <p:tgtEl>
                                          <p:spTgt spid="16"/>
                                        </p:tgtEl>
                                        <p:attrNameLst>
                                          <p:attrName>ppt_x</p:attrName>
                                        </p:attrNameLst>
                                      </p:cBhvr>
                                      <p:tavLst>
                                        <p:tav tm="0">
                                          <p:val>
                                            <p:strVal val="#ppt_x"/>
                                          </p:val>
                                        </p:tav>
                                        <p:tav tm="100000">
                                          <p:val>
                                            <p:strVal val="#ppt_x"/>
                                          </p:val>
                                        </p:tav>
                                      </p:tavLst>
                                    </p:anim>
                                    <p:anim calcmode="lin" valueType="num">
                                      <p:cBhvr additive="base">
                                        <p:cTn id="24" dur="500" fill="hold"/>
                                        <p:tgtEl>
                                          <p:spTgt spid="16"/>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ppt_x"/>
                                          </p:val>
                                        </p:tav>
                                        <p:tav tm="100000">
                                          <p:val>
                                            <p:strVal val="#ppt_x"/>
                                          </p:val>
                                        </p:tav>
                                      </p:tavLst>
                                    </p:anim>
                                    <p:anim calcmode="lin" valueType="num">
                                      <p:cBhvr additive="base">
                                        <p:cTn id="28" dur="500" fill="hold"/>
                                        <p:tgtEl>
                                          <p:spTgt spid="8"/>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fill="hold"/>
                                        <p:tgtEl>
                                          <p:spTgt spid="15"/>
                                        </p:tgtEl>
                                        <p:attrNameLst>
                                          <p:attrName>ppt_x</p:attrName>
                                        </p:attrNameLst>
                                      </p:cBhvr>
                                      <p:tavLst>
                                        <p:tav tm="0">
                                          <p:val>
                                            <p:strVal val="#ppt_x"/>
                                          </p:val>
                                        </p:tav>
                                        <p:tav tm="100000">
                                          <p:val>
                                            <p:strVal val="#ppt_x"/>
                                          </p:val>
                                        </p:tav>
                                      </p:tavLst>
                                    </p:anim>
                                    <p:anim calcmode="lin" valueType="num">
                                      <p:cBhvr additive="base">
                                        <p:cTn id="32" dur="500" fill="hold"/>
                                        <p:tgtEl>
                                          <p:spTgt spid="15"/>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7"/>
                                        </p:tgtEl>
                                        <p:attrNameLst>
                                          <p:attrName>style.visibility</p:attrName>
                                        </p:attrNameLst>
                                      </p:cBhvr>
                                      <p:to>
                                        <p:strVal val="visible"/>
                                      </p:to>
                                    </p:set>
                                    <p:anim calcmode="lin" valueType="num">
                                      <p:cBhvr additive="base">
                                        <p:cTn id="35" dur="500" fill="hold"/>
                                        <p:tgtEl>
                                          <p:spTgt spid="7"/>
                                        </p:tgtEl>
                                        <p:attrNameLst>
                                          <p:attrName>ppt_x</p:attrName>
                                        </p:attrNameLst>
                                      </p:cBhvr>
                                      <p:tavLst>
                                        <p:tav tm="0">
                                          <p:val>
                                            <p:strVal val="#ppt_x"/>
                                          </p:val>
                                        </p:tav>
                                        <p:tav tm="100000">
                                          <p:val>
                                            <p:strVal val="#ppt_x"/>
                                          </p:val>
                                        </p:tav>
                                      </p:tavLst>
                                    </p:anim>
                                    <p:anim calcmode="lin" valueType="num">
                                      <p:cBhvr additive="base">
                                        <p:cTn id="3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21"/>
                                        </p:tgtEl>
                                        <p:attrNameLst>
                                          <p:attrName>style.visibility</p:attrName>
                                        </p:attrNameLst>
                                      </p:cBhvr>
                                      <p:to>
                                        <p:strVal val="visible"/>
                                      </p:to>
                                    </p:set>
                                    <p:anim calcmode="lin" valueType="num">
                                      <p:cBhvr additive="base">
                                        <p:cTn id="41" dur="500" fill="hold"/>
                                        <p:tgtEl>
                                          <p:spTgt spid="21"/>
                                        </p:tgtEl>
                                        <p:attrNameLst>
                                          <p:attrName>ppt_x</p:attrName>
                                        </p:attrNameLst>
                                      </p:cBhvr>
                                      <p:tavLst>
                                        <p:tav tm="0">
                                          <p:val>
                                            <p:strVal val="#ppt_x"/>
                                          </p:val>
                                        </p:tav>
                                        <p:tav tm="100000">
                                          <p:val>
                                            <p:strVal val="#ppt_x"/>
                                          </p:val>
                                        </p:tav>
                                      </p:tavLst>
                                    </p:anim>
                                    <p:anim calcmode="lin" valueType="num">
                                      <p:cBhvr additive="base">
                                        <p:cTn id="42"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20"/>
                                        </p:tgtEl>
                                        <p:attrNameLst>
                                          <p:attrName>style.visibility</p:attrName>
                                        </p:attrNameLst>
                                      </p:cBhvr>
                                      <p:to>
                                        <p:strVal val="visible"/>
                                      </p:to>
                                    </p:set>
                                    <p:anim calcmode="lin" valueType="num">
                                      <p:cBhvr additive="base">
                                        <p:cTn id="47" dur="500" fill="hold"/>
                                        <p:tgtEl>
                                          <p:spTgt spid="20"/>
                                        </p:tgtEl>
                                        <p:attrNameLst>
                                          <p:attrName>ppt_x</p:attrName>
                                        </p:attrNameLst>
                                      </p:cBhvr>
                                      <p:tavLst>
                                        <p:tav tm="0">
                                          <p:val>
                                            <p:strVal val="#ppt_x"/>
                                          </p:val>
                                        </p:tav>
                                        <p:tav tm="100000">
                                          <p:val>
                                            <p:strVal val="#ppt_x"/>
                                          </p:val>
                                        </p:tav>
                                      </p:tavLst>
                                    </p:anim>
                                    <p:anim calcmode="lin" valueType="num">
                                      <p:cBhvr additive="base">
                                        <p:cTn id="4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0"/>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9"/>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xit" presetSubtype="0" fill="hold" grpId="1" nodeType="clickEffect">
                                  <p:stCondLst>
                                    <p:cond delay="0"/>
                                  </p:stCondLst>
                                  <p:childTnLst>
                                    <p:set>
                                      <p:cBhvr>
                                        <p:cTn id="60" dur="1" fill="hold">
                                          <p:stCondLst>
                                            <p:cond delay="0"/>
                                          </p:stCondLst>
                                        </p:cTn>
                                        <p:tgtEl>
                                          <p:spTgt spid="10"/>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42" presetClass="entr" presetSubtype="0" fill="hold" grpId="0" nodeType="clickEffect">
                                  <p:stCondLst>
                                    <p:cond delay="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1000"/>
                                        <p:tgtEl>
                                          <p:spTgt spid="23"/>
                                        </p:tgtEl>
                                      </p:cBhvr>
                                    </p:animEffect>
                                    <p:anim calcmode="lin" valueType="num">
                                      <p:cBhvr>
                                        <p:cTn id="66" dur="1000" fill="hold"/>
                                        <p:tgtEl>
                                          <p:spTgt spid="23"/>
                                        </p:tgtEl>
                                        <p:attrNameLst>
                                          <p:attrName>ppt_x</p:attrName>
                                        </p:attrNameLst>
                                      </p:cBhvr>
                                      <p:tavLst>
                                        <p:tav tm="0">
                                          <p:val>
                                            <p:strVal val="#ppt_x"/>
                                          </p:val>
                                        </p:tav>
                                        <p:tav tm="100000">
                                          <p:val>
                                            <p:strVal val="#ppt_x"/>
                                          </p:val>
                                        </p:tav>
                                      </p:tavLst>
                                    </p:anim>
                                    <p:anim calcmode="lin" valueType="num">
                                      <p:cBhvr>
                                        <p:cTn id="67" dur="1000" fill="hold"/>
                                        <p:tgtEl>
                                          <p:spTgt spid="23"/>
                                        </p:tgtEl>
                                        <p:attrNameLst>
                                          <p:attrName>ppt_y</p:attrName>
                                        </p:attrNameLst>
                                      </p:cBhvr>
                                      <p:tavLst>
                                        <p:tav tm="0">
                                          <p:val>
                                            <p:strVal val="#ppt_y+.1"/>
                                          </p:val>
                                        </p:tav>
                                        <p:tav tm="100000">
                                          <p:val>
                                            <p:strVal val="#ppt_y"/>
                                          </p:val>
                                        </p:tav>
                                      </p:tavLst>
                                    </p:anim>
                                  </p:childTnLst>
                                </p:cTn>
                              </p:par>
                              <p:par>
                                <p:cTn id="68" presetID="1" presetClass="exit" presetSubtype="0" fill="hold" nodeType="withEffect">
                                  <p:stCondLst>
                                    <p:cond delay="0"/>
                                  </p:stCondLst>
                                  <p:childTnLst>
                                    <p:set>
                                      <p:cBhvr>
                                        <p:cTn id="69" dur="1" fill="hold">
                                          <p:stCondLst>
                                            <p:cond delay="0"/>
                                          </p:stCondLst>
                                        </p:cTn>
                                        <p:tgtEl>
                                          <p:spTgt spid="76"/>
                                        </p:tgtEl>
                                        <p:attrNameLst>
                                          <p:attrName>style.visibility</p:attrName>
                                        </p:attrNameLst>
                                      </p:cBhvr>
                                      <p:to>
                                        <p:strVal val="hidden"/>
                                      </p:to>
                                    </p:set>
                                  </p:childTnLst>
                                </p:cTn>
                              </p:par>
                              <p:par>
                                <p:cTn id="70" presetID="42" presetClass="entr" presetSubtype="0" fill="hold" grpId="0" nodeType="with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fade">
                                      <p:cBhvr>
                                        <p:cTn id="72" dur="1000"/>
                                        <p:tgtEl>
                                          <p:spTgt spid="24"/>
                                        </p:tgtEl>
                                      </p:cBhvr>
                                    </p:animEffect>
                                    <p:anim calcmode="lin" valueType="num">
                                      <p:cBhvr>
                                        <p:cTn id="73" dur="1000" fill="hold"/>
                                        <p:tgtEl>
                                          <p:spTgt spid="24"/>
                                        </p:tgtEl>
                                        <p:attrNameLst>
                                          <p:attrName>ppt_x</p:attrName>
                                        </p:attrNameLst>
                                      </p:cBhvr>
                                      <p:tavLst>
                                        <p:tav tm="0">
                                          <p:val>
                                            <p:strVal val="#ppt_x"/>
                                          </p:val>
                                        </p:tav>
                                        <p:tav tm="100000">
                                          <p:val>
                                            <p:strVal val="#ppt_x"/>
                                          </p:val>
                                        </p:tav>
                                      </p:tavLst>
                                    </p:anim>
                                    <p:anim calcmode="lin" valueType="num">
                                      <p:cBhvr>
                                        <p:cTn id="74" dur="1000" fill="hold"/>
                                        <p:tgtEl>
                                          <p:spTgt spid="24"/>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25"/>
                                        </p:tgtEl>
                                        <p:attrNameLst>
                                          <p:attrName>style.visibility</p:attrName>
                                        </p:attrNameLst>
                                      </p:cBhvr>
                                      <p:to>
                                        <p:strVal val="visible"/>
                                      </p:to>
                                    </p:set>
                                    <p:animEffect transition="in" filter="fade">
                                      <p:cBhvr>
                                        <p:cTn id="77" dur="1000"/>
                                        <p:tgtEl>
                                          <p:spTgt spid="25"/>
                                        </p:tgtEl>
                                      </p:cBhvr>
                                    </p:animEffect>
                                    <p:anim calcmode="lin" valueType="num">
                                      <p:cBhvr>
                                        <p:cTn id="78" dur="1000" fill="hold"/>
                                        <p:tgtEl>
                                          <p:spTgt spid="25"/>
                                        </p:tgtEl>
                                        <p:attrNameLst>
                                          <p:attrName>ppt_x</p:attrName>
                                        </p:attrNameLst>
                                      </p:cBhvr>
                                      <p:tavLst>
                                        <p:tav tm="0">
                                          <p:val>
                                            <p:strVal val="#ppt_x"/>
                                          </p:val>
                                        </p:tav>
                                        <p:tav tm="100000">
                                          <p:val>
                                            <p:strVal val="#ppt_x"/>
                                          </p:val>
                                        </p:tav>
                                      </p:tavLst>
                                    </p:anim>
                                    <p:anim calcmode="lin" valueType="num">
                                      <p:cBhvr>
                                        <p:cTn id="79" dur="1000" fill="hold"/>
                                        <p:tgtEl>
                                          <p:spTgt spid="25"/>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22"/>
                                        </p:tgtEl>
                                        <p:attrNameLst>
                                          <p:attrName>style.visibility</p:attrName>
                                        </p:attrNameLst>
                                      </p:cBhvr>
                                      <p:to>
                                        <p:strVal val="visible"/>
                                      </p:to>
                                    </p:set>
                                    <p:animEffect transition="in" filter="fade">
                                      <p:cBhvr>
                                        <p:cTn id="82" dur="1000"/>
                                        <p:tgtEl>
                                          <p:spTgt spid="22"/>
                                        </p:tgtEl>
                                      </p:cBhvr>
                                    </p:animEffect>
                                    <p:anim calcmode="lin" valueType="num">
                                      <p:cBhvr>
                                        <p:cTn id="83" dur="1000" fill="hold"/>
                                        <p:tgtEl>
                                          <p:spTgt spid="22"/>
                                        </p:tgtEl>
                                        <p:attrNameLst>
                                          <p:attrName>ppt_x</p:attrName>
                                        </p:attrNameLst>
                                      </p:cBhvr>
                                      <p:tavLst>
                                        <p:tav tm="0">
                                          <p:val>
                                            <p:strVal val="#ppt_x"/>
                                          </p:val>
                                        </p:tav>
                                        <p:tav tm="100000">
                                          <p:val>
                                            <p:strVal val="#ppt_x"/>
                                          </p:val>
                                        </p:tav>
                                      </p:tavLst>
                                    </p:anim>
                                    <p:anim calcmode="lin" valueType="num">
                                      <p:cBhvr>
                                        <p:cTn id="84" dur="1000" fill="hold"/>
                                        <p:tgtEl>
                                          <p:spTgt spid="22"/>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32"/>
                                        </p:tgtEl>
                                        <p:attrNameLst>
                                          <p:attrName>style.visibility</p:attrName>
                                        </p:attrNameLst>
                                      </p:cBhvr>
                                      <p:to>
                                        <p:strVal val="visible"/>
                                      </p:to>
                                    </p:set>
                                    <p:animEffect transition="in" filter="fade">
                                      <p:cBhvr>
                                        <p:cTn id="87" dur="1000"/>
                                        <p:tgtEl>
                                          <p:spTgt spid="32"/>
                                        </p:tgtEl>
                                      </p:cBhvr>
                                    </p:animEffect>
                                    <p:anim calcmode="lin" valueType="num">
                                      <p:cBhvr>
                                        <p:cTn id="88" dur="1000" fill="hold"/>
                                        <p:tgtEl>
                                          <p:spTgt spid="32"/>
                                        </p:tgtEl>
                                        <p:attrNameLst>
                                          <p:attrName>ppt_x</p:attrName>
                                        </p:attrNameLst>
                                      </p:cBhvr>
                                      <p:tavLst>
                                        <p:tav tm="0">
                                          <p:val>
                                            <p:strVal val="#ppt_x"/>
                                          </p:val>
                                        </p:tav>
                                        <p:tav tm="100000">
                                          <p:val>
                                            <p:strVal val="#ppt_x"/>
                                          </p:val>
                                        </p:tav>
                                      </p:tavLst>
                                    </p:anim>
                                    <p:anim calcmode="lin" valueType="num">
                                      <p:cBhvr>
                                        <p:cTn id="89" dur="1000" fill="hold"/>
                                        <p:tgtEl>
                                          <p:spTgt spid="32"/>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33"/>
                                        </p:tgtEl>
                                        <p:attrNameLst>
                                          <p:attrName>style.visibility</p:attrName>
                                        </p:attrNameLst>
                                      </p:cBhvr>
                                      <p:to>
                                        <p:strVal val="visible"/>
                                      </p:to>
                                    </p:set>
                                    <p:animEffect transition="in" filter="fade">
                                      <p:cBhvr>
                                        <p:cTn id="92" dur="1000"/>
                                        <p:tgtEl>
                                          <p:spTgt spid="33"/>
                                        </p:tgtEl>
                                      </p:cBhvr>
                                    </p:animEffect>
                                    <p:anim calcmode="lin" valueType="num">
                                      <p:cBhvr>
                                        <p:cTn id="93" dur="1000" fill="hold"/>
                                        <p:tgtEl>
                                          <p:spTgt spid="33"/>
                                        </p:tgtEl>
                                        <p:attrNameLst>
                                          <p:attrName>ppt_x</p:attrName>
                                        </p:attrNameLst>
                                      </p:cBhvr>
                                      <p:tavLst>
                                        <p:tav tm="0">
                                          <p:val>
                                            <p:strVal val="#ppt_x"/>
                                          </p:val>
                                        </p:tav>
                                        <p:tav tm="100000">
                                          <p:val>
                                            <p:strVal val="#ppt_x"/>
                                          </p:val>
                                        </p:tav>
                                      </p:tavLst>
                                    </p:anim>
                                    <p:anim calcmode="lin" valueType="num">
                                      <p:cBhvr>
                                        <p:cTn id="94"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grpId="0" nodeType="clickEffect">
                                  <p:stCondLst>
                                    <p:cond delay="0"/>
                                  </p:stCondLst>
                                  <p:childTnLst>
                                    <p:set>
                                      <p:cBhvr>
                                        <p:cTn id="98" dur="1" fill="hold">
                                          <p:stCondLst>
                                            <p:cond delay="0"/>
                                          </p:stCondLst>
                                        </p:cTn>
                                        <p:tgtEl>
                                          <p:spTgt spid="11"/>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ntr" presetSubtype="0" fill="hold" nodeType="clickEffect">
                                  <p:stCondLst>
                                    <p:cond delay="0"/>
                                  </p:stCondLst>
                                  <p:childTnLst>
                                    <p:set>
                                      <p:cBhvr>
                                        <p:cTn id="102" dur="1" fill="hold">
                                          <p:stCondLst>
                                            <p:cond delay="0"/>
                                          </p:stCondLst>
                                        </p:cTn>
                                        <p:tgtEl>
                                          <p:spTgt spid="77"/>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0" presetClass="exit" presetSubtype="0" fill="hold" grpId="1" nodeType="clickEffect">
                                  <p:stCondLst>
                                    <p:cond delay="0"/>
                                  </p:stCondLst>
                                  <p:childTnLst>
                                    <p:animEffect transition="out" filter="fade">
                                      <p:cBhvr>
                                        <p:cTn id="106" dur="500"/>
                                        <p:tgtEl>
                                          <p:spTgt spid="11"/>
                                        </p:tgtEl>
                                      </p:cBhvr>
                                    </p:animEffect>
                                    <p:set>
                                      <p:cBhvr>
                                        <p:cTn id="107" dur="1" fill="hold">
                                          <p:stCondLst>
                                            <p:cond delay="499"/>
                                          </p:stCondLst>
                                        </p:cTn>
                                        <p:tgtEl>
                                          <p:spTgt spid="11"/>
                                        </p:tgtEl>
                                        <p:attrNameLst>
                                          <p:attrName>style.visibility</p:attrName>
                                        </p:attrNameLst>
                                      </p:cBhvr>
                                      <p:to>
                                        <p:strVal val="hidden"/>
                                      </p:to>
                                    </p:set>
                                  </p:childTnLst>
                                </p:cTn>
                              </p:par>
                            </p:childTnLst>
                          </p:cTn>
                        </p:par>
                      </p:childTnLst>
                    </p:cTn>
                  </p:par>
                  <p:par>
                    <p:cTn id="108" fill="hold">
                      <p:stCondLst>
                        <p:cond delay="indefinite"/>
                      </p:stCondLst>
                      <p:childTnLst>
                        <p:par>
                          <p:cTn id="109" fill="hold">
                            <p:stCondLst>
                              <p:cond delay="0"/>
                            </p:stCondLst>
                            <p:childTnLst>
                              <p:par>
                                <p:cTn id="110" presetID="42" presetClass="entr" presetSubtype="0" fill="hold" grpId="0" nodeType="clickEffect">
                                  <p:stCondLst>
                                    <p:cond delay="0"/>
                                  </p:stCondLst>
                                  <p:childTnLst>
                                    <p:set>
                                      <p:cBhvr>
                                        <p:cTn id="111" dur="1" fill="hold">
                                          <p:stCondLst>
                                            <p:cond delay="0"/>
                                          </p:stCondLst>
                                        </p:cTn>
                                        <p:tgtEl>
                                          <p:spTgt spid="28"/>
                                        </p:tgtEl>
                                        <p:attrNameLst>
                                          <p:attrName>style.visibility</p:attrName>
                                        </p:attrNameLst>
                                      </p:cBhvr>
                                      <p:to>
                                        <p:strVal val="visible"/>
                                      </p:to>
                                    </p:set>
                                    <p:animEffect transition="in" filter="fade">
                                      <p:cBhvr>
                                        <p:cTn id="112" dur="1000"/>
                                        <p:tgtEl>
                                          <p:spTgt spid="28"/>
                                        </p:tgtEl>
                                      </p:cBhvr>
                                    </p:animEffect>
                                    <p:anim calcmode="lin" valueType="num">
                                      <p:cBhvr>
                                        <p:cTn id="113" dur="1000" fill="hold"/>
                                        <p:tgtEl>
                                          <p:spTgt spid="28"/>
                                        </p:tgtEl>
                                        <p:attrNameLst>
                                          <p:attrName>ppt_x</p:attrName>
                                        </p:attrNameLst>
                                      </p:cBhvr>
                                      <p:tavLst>
                                        <p:tav tm="0">
                                          <p:val>
                                            <p:strVal val="#ppt_x"/>
                                          </p:val>
                                        </p:tav>
                                        <p:tav tm="100000">
                                          <p:val>
                                            <p:strVal val="#ppt_x"/>
                                          </p:val>
                                        </p:tav>
                                      </p:tavLst>
                                    </p:anim>
                                    <p:anim calcmode="lin" valueType="num">
                                      <p:cBhvr>
                                        <p:cTn id="114" dur="1000" fill="hold"/>
                                        <p:tgtEl>
                                          <p:spTgt spid="28"/>
                                        </p:tgtEl>
                                        <p:attrNameLst>
                                          <p:attrName>ppt_y</p:attrName>
                                        </p:attrNameLst>
                                      </p:cBhvr>
                                      <p:tavLst>
                                        <p:tav tm="0">
                                          <p:val>
                                            <p:strVal val="#ppt_y+.1"/>
                                          </p:val>
                                        </p:tav>
                                        <p:tav tm="100000">
                                          <p:val>
                                            <p:strVal val="#ppt_y"/>
                                          </p:val>
                                        </p:tav>
                                      </p:tavLst>
                                    </p:anim>
                                  </p:childTnLst>
                                </p:cTn>
                              </p:par>
                              <p:par>
                                <p:cTn id="115" presetID="42" presetClass="entr" presetSubtype="0" fill="hold" nodeType="withEffect">
                                  <p:stCondLst>
                                    <p:cond delay="0"/>
                                  </p:stCondLst>
                                  <p:childTnLst>
                                    <p:set>
                                      <p:cBhvr>
                                        <p:cTn id="116" dur="1" fill="hold">
                                          <p:stCondLst>
                                            <p:cond delay="0"/>
                                          </p:stCondLst>
                                        </p:cTn>
                                        <p:tgtEl>
                                          <p:spTgt spid="26"/>
                                        </p:tgtEl>
                                        <p:attrNameLst>
                                          <p:attrName>style.visibility</p:attrName>
                                        </p:attrNameLst>
                                      </p:cBhvr>
                                      <p:to>
                                        <p:strVal val="visible"/>
                                      </p:to>
                                    </p:set>
                                    <p:animEffect transition="in" filter="fade">
                                      <p:cBhvr>
                                        <p:cTn id="117" dur="1000"/>
                                        <p:tgtEl>
                                          <p:spTgt spid="26"/>
                                        </p:tgtEl>
                                      </p:cBhvr>
                                    </p:animEffect>
                                    <p:anim calcmode="lin" valueType="num">
                                      <p:cBhvr>
                                        <p:cTn id="118" dur="1000" fill="hold"/>
                                        <p:tgtEl>
                                          <p:spTgt spid="26"/>
                                        </p:tgtEl>
                                        <p:attrNameLst>
                                          <p:attrName>ppt_x</p:attrName>
                                        </p:attrNameLst>
                                      </p:cBhvr>
                                      <p:tavLst>
                                        <p:tav tm="0">
                                          <p:val>
                                            <p:strVal val="#ppt_x"/>
                                          </p:val>
                                        </p:tav>
                                        <p:tav tm="100000">
                                          <p:val>
                                            <p:strVal val="#ppt_x"/>
                                          </p:val>
                                        </p:tav>
                                      </p:tavLst>
                                    </p:anim>
                                    <p:anim calcmode="lin" valueType="num">
                                      <p:cBhvr>
                                        <p:cTn id="119" dur="1000" fill="hold"/>
                                        <p:tgtEl>
                                          <p:spTgt spid="26"/>
                                        </p:tgtEl>
                                        <p:attrNameLst>
                                          <p:attrName>ppt_y</p:attrName>
                                        </p:attrNameLst>
                                      </p:cBhvr>
                                      <p:tavLst>
                                        <p:tav tm="0">
                                          <p:val>
                                            <p:strVal val="#ppt_y+.1"/>
                                          </p:val>
                                        </p:tav>
                                        <p:tav tm="100000">
                                          <p:val>
                                            <p:strVal val="#ppt_y"/>
                                          </p:val>
                                        </p:tav>
                                      </p:tavLst>
                                    </p:anim>
                                  </p:childTnLst>
                                </p:cTn>
                              </p:par>
                              <p:par>
                                <p:cTn id="120" presetID="1" presetClass="entr" presetSubtype="0" fill="hold" grpId="0" nodeType="withEffect">
                                  <p:stCondLst>
                                    <p:cond delay="0"/>
                                  </p:stCondLst>
                                  <p:childTnLst>
                                    <p:set>
                                      <p:cBhvr>
                                        <p:cTn id="121" dur="1" fill="hold">
                                          <p:stCondLst>
                                            <p:cond delay="0"/>
                                          </p:stCondLst>
                                        </p:cTn>
                                        <p:tgtEl>
                                          <p:spTgt spid="60"/>
                                        </p:tgtEl>
                                        <p:attrNameLst>
                                          <p:attrName>style.visibility</p:attrName>
                                        </p:attrNameLst>
                                      </p:cBhvr>
                                      <p:to>
                                        <p:strVal val="visible"/>
                                      </p:to>
                                    </p:set>
                                  </p:childTnLst>
                                </p:cTn>
                              </p:par>
                              <p:par>
                                <p:cTn id="122" presetID="42" presetClass="entr" presetSubtype="0" fill="hold" grpId="0" nodeType="withEffect">
                                  <p:stCondLst>
                                    <p:cond delay="0"/>
                                  </p:stCondLst>
                                  <p:childTnLst>
                                    <p:set>
                                      <p:cBhvr>
                                        <p:cTn id="123" dur="1" fill="hold">
                                          <p:stCondLst>
                                            <p:cond delay="0"/>
                                          </p:stCondLst>
                                        </p:cTn>
                                        <p:tgtEl>
                                          <p:spTgt spid="29"/>
                                        </p:tgtEl>
                                        <p:attrNameLst>
                                          <p:attrName>style.visibility</p:attrName>
                                        </p:attrNameLst>
                                      </p:cBhvr>
                                      <p:to>
                                        <p:strVal val="visible"/>
                                      </p:to>
                                    </p:set>
                                    <p:animEffect transition="in" filter="fade">
                                      <p:cBhvr>
                                        <p:cTn id="124" dur="1000"/>
                                        <p:tgtEl>
                                          <p:spTgt spid="29"/>
                                        </p:tgtEl>
                                      </p:cBhvr>
                                    </p:animEffect>
                                    <p:anim calcmode="lin" valueType="num">
                                      <p:cBhvr>
                                        <p:cTn id="125" dur="1000" fill="hold"/>
                                        <p:tgtEl>
                                          <p:spTgt spid="29"/>
                                        </p:tgtEl>
                                        <p:attrNameLst>
                                          <p:attrName>ppt_x</p:attrName>
                                        </p:attrNameLst>
                                      </p:cBhvr>
                                      <p:tavLst>
                                        <p:tav tm="0">
                                          <p:val>
                                            <p:strVal val="#ppt_x"/>
                                          </p:val>
                                        </p:tav>
                                        <p:tav tm="100000">
                                          <p:val>
                                            <p:strVal val="#ppt_x"/>
                                          </p:val>
                                        </p:tav>
                                      </p:tavLst>
                                    </p:anim>
                                    <p:anim calcmode="lin" valueType="num">
                                      <p:cBhvr>
                                        <p:cTn id="126" dur="1000" fill="hold"/>
                                        <p:tgtEl>
                                          <p:spTgt spid="29"/>
                                        </p:tgtEl>
                                        <p:attrNameLst>
                                          <p:attrName>ppt_y</p:attrName>
                                        </p:attrNameLst>
                                      </p:cBhvr>
                                      <p:tavLst>
                                        <p:tav tm="0">
                                          <p:val>
                                            <p:strVal val="#ppt_y+.1"/>
                                          </p:val>
                                        </p:tav>
                                        <p:tav tm="100000">
                                          <p:val>
                                            <p:strVal val="#ppt_y"/>
                                          </p:val>
                                        </p:tav>
                                      </p:tavLst>
                                    </p:anim>
                                  </p:childTnLst>
                                </p:cTn>
                              </p:par>
                              <p:par>
                                <p:cTn id="127" presetID="1" presetClass="entr" presetSubtype="0" fill="hold" grpId="0" nodeType="withEffect">
                                  <p:stCondLst>
                                    <p:cond delay="0"/>
                                  </p:stCondLst>
                                  <p:childTnLst>
                                    <p:set>
                                      <p:cBhvr>
                                        <p:cTn id="128" dur="1" fill="hold">
                                          <p:stCondLst>
                                            <p:cond delay="0"/>
                                          </p:stCondLst>
                                        </p:cTn>
                                        <p:tgtEl>
                                          <p:spTgt spid="34"/>
                                        </p:tgtEl>
                                        <p:attrNameLst>
                                          <p:attrName>style.visibility</p:attrName>
                                        </p:attrNameLst>
                                      </p:cBhvr>
                                      <p:to>
                                        <p:strVal val="visible"/>
                                      </p:to>
                                    </p:set>
                                  </p:childTnLst>
                                </p:cTn>
                              </p:par>
                              <p:par>
                                <p:cTn id="129" presetID="42" presetClass="entr" presetSubtype="0" fill="hold" nodeType="withEffect">
                                  <p:stCondLst>
                                    <p:cond delay="0"/>
                                  </p:stCondLst>
                                  <p:childTnLst>
                                    <p:set>
                                      <p:cBhvr>
                                        <p:cTn id="130" dur="1" fill="hold">
                                          <p:stCondLst>
                                            <p:cond delay="0"/>
                                          </p:stCondLst>
                                        </p:cTn>
                                        <p:tgtEl>
                                          <p:spTgt spid="27"/>
                                        </p:tgtEl>
                                        <p:attrNameLst>
                                          <p:attrName>style.visibility</p:attrName>
                                        </p:attrNameLst>
                                      </p:cBhvr>
                                      <p:to>
                                        <p:strVal val="visible"/>
                                      </p:to>
                                    </p:set>
                                    <p:animEffect transition="in" filter="fade">
                                      <p:cBhvr>
                                        <p:cTn id="131" dur="1000"/>
                                        <p:tgtEl>
                                          <p:spTgt spid="27"/>
                                        </p:tgtEl>
                                      </p:cBhvr>
                                    </p:animEffect>
                                    <p:anim calcmode="lin" valueType="num">
                                      <p:cBhvr>
                                        <p:cTn id="132" dur="1000" fill="hold"/>
                                        <p:tgtEl>
                                          <p:spTgt spid="27"/>
                                        </p:tgtEl>
                                        <p:attrNameLst>
                                          <p:attrName>ppt_x</p:attrName>
                                        </p:attrNameLst>
                                      </p:cBhvr>
                                      <p:tavLst>
                                        <p:tav tm="0">
                                          <p:val>
                                            <p:strVal val="#ppt_x"/>
                                          </p:val>
                                        </p:tav>
                                        <p:tav tm="100000">
                                          <p:val>
                                            <p:strVal val="#ppt_x"/>
                                          </p:val>
                                        </p:tav>
                                      </p:tavLst>
                                    </p:anim>
                                    <p:anim calcmode="lin" valueType="num">
                                      <p:cBhvr>
                                        <p:cTn id="133" dur="1000" fill="hold"/>
                                        <p:tgtEl>
                                          <p:spTgt spid="27"/>
                                        </p:tgtEl>
                                        <p:attrNameLst>
                                          <p:attrName>ppt_y</p:attrName>
                                        </p:attrNameLst>
                                      </p:cBhvr>
                                      <p:tavLst>
                                        <p:tav tm="0">
                                          <p:val>
                                            <p:strVal val="#ppt_y+.1"/>
                                          </p:val>
                                        </p:tav>
                                        <p:tav tm="100000">
                                          <p:val>
                                            <p:strVal val="#ppt_y"/>
                                          </p:val>
                                        </p:tav>
                                      </p:tavLst>
                                    </p:anim>
                                  </p:childTnLst>
                                </p:cTn>
                              </p:par>
                              <p:par>
                                <p:cTn id="134" presetID="42" presetClass="entr" presetSubtype="0" fill="hold" nodeType="withEffect">
                                  <p:stCondLst>
                                    <p:cond delay="0"/>
                                  </p:stCondLst>
                                  <p:childTnLst>
                                    <p:set>
                                      <p:cBhvr>
                                        <p:cTn id="135" dur="1" fill="hold">
                                          <p:stCondLst>
                                            <p:cond delay="0"/>
                                          </p:stCondLst>
                                        </p:cTn>
                                        <p:tgtEl>
                                          <p:spTgt spid="30"/>
                                        </p:tgtEl>
                                        <p:attrNameLst>
                                          <p:attrName>style.visibility</p:attrName>
                                        </p:attrNameLst>
                                      </p:cBhvr>
                                      <p:to>
                                        <p:strVal val="visible"/>
                                      </p:to>
                                    </p:set>
                                    <p:animEffect transition="in" filter="fade">
                                      <p:cBhvr>
                                        <p:cTn id="136" dur="1000"/>
                                        <p:tgtEl>
                                          <p:spTgt spid="30"/>
                                        </p:tgtEl>
                                      </p:cBhvr>
                                    </p:animEffect>
                                    <p:anim calcmode="lin" valueType="num">
                                      <p:cBhvr>
                                        <p:cTn id="137" dur="1000" fill="hold"/>
                                        <p:tgtEl>
                                          <p:spTgt spid="30"/>
                                        </p:tgtEl>
                                        <p:attrNameLst>
                                          <p:attrName>ppt_x</p:attrName>
                                        </p:attrNameLst>
                                      </p:cBhvr>
                                      <p:tavLst>
                                        <p:tav tm="0">
                                          <p:val>
                                            <p:strVal val="#ppt_x"/>
                                          </p:val>
                                        </p:tav>
                                        <p:tav tm="100000">
                                          <p:val>
                                            <p:strVal val="#ppt_x"/>
                                          </p:val>
                                        </p:tav>
                                      </p:tavLst>
                                    </p:anim>
                                    <p:anim calcmode="lin" valueType="num">
                                      <p:cBhvr>
                                        <p:cTn id="138" dur="1000" fill="hold"/>
                                        <p:tgtEl>
                                          <p:spTgt spid="30"/>
                                        </p:tgtEl>
                                        <p:attrNameLst>
                                          <p:attrName>ppt_y</p:attrName>
                                        </p:attrNameLst>
                                      </p:cBhvr>
                                      <p:tavLst>
                                        <p:tav tm="0">
                                          <p:val>
                                            <p:strVal val="#ppt_y+.1"/>
                                          </p:val>
                                        </p:tav>
                                        <p:tav tm="100000">
                                          <p:val>
                                            <p:strVal val="#ppt_y"/>
                                          </p:val>
                                        </p:tav>
                                      </p:tavLst>
                                    </p:anim>
                                  </p:childTnLst>
                                </p:cTn>
                              </p:par>
                              <p:par>
                                <p:cTn id="139" presetID="42" presetClass="entr" presetSubtype="0" fill="hold" grpId="0" nodeType="withEffect">
                                  <p:stCondLst>
                                    <p:cond delay="0"/>
                                  </p:stCondLst>
                                  <p:childTnLst>
                                    <p:set>
                                      <p:cBhvr>
                                        <p:cTn id="140" dur="1" fill="hold">
                                          <p:stCondLst>
                                            <p:cond delay="0"/>
                                          </p:stCondLst>
                                        </p:cTn>
                                        <p:tgtEl>
                                          <p:spTgt spid="31"/>
                                        </p:tgtEl>
                                        <p:attrNameLst>
                                          <p:attrName>style.visibility</p:attrName>
                                        </p:attrNameLst>
                                      </p:cBhvr>
                                      <p:to>
                                        <p:strVal val="visible"/>
                                      </p:to>
                                    </p:set>
                                    <p:animEffect transition="in" filter="fade">
                                      <p:cBhvr>
                                        <p:cTn id="141" dur="1000"/>
                                        <p:tgtEl>
                                          <p:spTgt spid="31"/>
                                        </p:tgtEl>
                                      </p:cBhvr>
                                    </p:animEffect>
                                    <p:anim calcmode="lin" valueType="num">
                                      <p:cBhvr>
                                        <p:cTn id="142" dur="1000" fill="hold"/>
                                        <p:tgtEl>
                                          <p:spTgt spid="31"/>
                                        </p:tgtEl>
                                        <p:attrNameLst>
                                          <p:attrName>ppt_x</p:attrName>
                                        </p:attrNameLst>
                                      </p:cBhvr>
                                      <p:tavLst>
                                        <p:tav tm="0">
                                          <p:val>
                                            <p:strVal val="#ppt_x"/>
                                          </p:val>
                                        </p:tav>
                                        <p:tav tm="100000">
                                          <p:val>
                                            <p:strVal val="#ppt_x"/>
                                          </p:val>
                                        </p:tav>
                                      </p:tavLst>
                                    </p:anim>
                                    <p:anim calcmode="lin" valueType="num">
                                      <p:cBhvr>
                                        <p:cTn id="143" dur="1000" fill="hold"/>
                                        <p:tgtEl>
                                          <p:spTgt spid="31"/>
                                        </p:tgtEl>
                                        <p:attrNameLst>
                                          <p:attrName>ppt_y</p:attrName>
                                        </p:attrNameLst>
                                      </p:cBhvr>
                                      <p:tavLst>
                                        <p:tav tm="0">
                                          <p:val>
                                            <p:strVal val="#ppt_y+.1"/>
                                          </p:val>
                                        </p:tav>
                                        <p:tav tm="100000">
                                          <p:val>
                                            <p:strVal val="#ppt_y"/>
                                          </p:val>
                                        </p:tav>
                                      </p:tavLst>
                                    </p:anim>
                                  </p:childTnLst>
                                </p:cTn>
                              </p:par>
                              <p:par>
                                <p:cTn id="144" presetID="2" presetClass="exit" presetSubtype="4" fill="hold" nodeType="withEffect">
                                  <p:stCondLst>
                                    <p:cond delay="0"/>
                                  </p:stCondLst>
                                  <p:childTnLst>
                                    <p:anim calcmode="lin" valueType="num">
                                      <p:cBhvr additive="base">
                                        <p:cTn id="145" dur="500"/>
                                        <p:tgtEl>
                                          <p:spTgt spid="77"/>
                                        </p:tgtEl>
                                        <p:attrNameLst>
                                          <p:attrName>ppt_x</p:attrName>
                                        </p:attrNameLst>
                                      </p:cBhvr>
                                      <p:tavLst>
                                        <p:tav tm="0">
                                          <p:val>
                                            <p:strVal val="ppt_x"/>
                                          </p:val>
                                        </p:tav>
                                        <p:tav tm="100000">
                                          <p:val>
                                            <p:strVal val="ppt_x"/>
                                          </p:val>
                                        </p:tav>
                                      </p:tavLst>
                                    </p:anim>
                                    <p:anim calcmode="lin" valueType="num">
                                      <p:cBhvr additive="base">
                                        <p:cTn id="146" dur="500"/>
                                        <p:tgtEl>
                                          <p:spTgt spid="77"/>
                                        </p:tgtEl>
                                        <p:attrNameLst>
                                          <p:attrName>ppt_y</p:attrName>
                                        </p:attrNameLst>
                                      </p:cBhvr>
                                      <p:tavLst>
                                        <p:tav tm="0">
                                          <p:val>
                                            <p:strVal val="ppt_y"/>
                                          </p:val>
                                        </p:tav>
                                        <p:tav tm="100000">
                                          <p:val>
                                            <p:strVal val="1+ppt_h/2"/>
                                          </p:val>
                                        </p:tav>
                                      </p:tavLst>
                                    </p:anim>
                                    <p:set>
                                      <p:cBhvr>
                                        <p:cTn id="147" dur="1" fill="hold">
                                          <p:stCondLst>
                                            <p:cond delay="499"/>
                                          </p:stCondLst>
                                        </p:cTn>
                                        <p:tgtEl>
                                          <p:spTgt spid="77"/>
                                        </p:tgtEl>
                                        <p:attrNameLst>
                                          <p:attrName>style.visibility</p:attrName>
                                        </p:attrNameLst>
                                      </p:cBhvr>
                                      <p:to>
                                        <p:strVal val="hidden"/>
                                      </p:to>
                                    </p:set>
                                  </p:childTnLst>
                                </p:cTn>
                              </p:par>
                            </p:childTnLst>
                          </p:cTn>
                        </p:par>
                      </p:childTnLst>
                    </p:cTn>
                  </p:par>
                  <p:par>
                    <p:cTn id="148" fill="hold">
                      <p:stCondLst>
                        <p:cond delay="indefinite"/>
                      </p:stCondLst>
                      <p:childTnLst>
                        <p:par>
                          <p:cTn id="149" fill="hold">
                            <p:stCondLst>
                              <p:cond delay="0"/>
                            </p:stCondLst>
                            <p:childTnLst>
                              <p:par>
                                <p:cTn id="150" presetID="2" presetClass="entr" presetSubtype="4" fill="hold" grpId="0" nodeType="clickEffect">
                                  <p:stCondLst>
                                    <p:cond delay="0"/>
                                  </p:stCondLst>
                                  <p:childTnLst>
                                    <p:set>
                                      <p:cBhvr>
                                        <p:cTn id="151" dur="1" fill="hold">
                                          <p:stCondLst>
                                            <p:cond delay="0"/>
                                          </p:stCondLst>
                                        </p:cTn>
                                        <p:tgtEl>
                                          <p:spTgt spid="63"/>
                                        </p:tgtEl>
                                        <p:attrNameLst>
                                          <p:attrName>style.visibility</p:attrName>
                                        </p:attrNameLst>
                                      </p:cBhvr>
                                      <p:to>
                                        <p:strVal val="visible"/>
                                      </p:to>
                                    </p:set>
                                    <p:anim calcmode="lin" valueType="num">
                                      <p:cBhvr additive="base">
                                        <p:cTn id="152" dur="500" fill="hold"/>
                                        <p:tgtEl>
                                          <p:spTgt spid="63"/>
                                        </p:tgtEl>
                                        <p:attrNameLst>
                                          <p:attrName>ppt_x</p:attrName>
                                        </p:attrNameLst>
                                      </p:cBhvr>
                                      <p:tavLst>
                                        <p:tav tm="0">
                                          <p:val>
                                            <p:strVal val="#ppt_x"/>
                                          </p:val>
                                        </p:tav>
                                        <p:tav tm="100000">
                                          <p:val>
                                            <p:strVal val="#ppt_x"/>
                                          </p:val>
                                        </p:tav>
                                      </p:tavLst>
                                    </p:anim>
                                    <p:anim calcmode="lin" valueType="num">
                                      <p:cBhvr additive="base">
                                        <p:cTn id="153" dur="500" fill="hold"/>
                                        <p:tgtEl>
                                          <p:spTgt spid="63"/>
                                        </p:tgtEl>
                                        <p:attrNameLst>
                                          <p:attrName>ppt_y</p:attrName>
                                        </p:attrNameLst>
                                      </p:cBhvr>
                                      <p:tavLst>
                                        <p:tav tm="0">
                                          <p:val>
                                            <p:strVal val="1+#ppt_h/2"/>
                                          </p:val>
                                        </p:tav>
                                        <p:tav tm="100000">
                                          <p:val>
                                            <p:strVal val="#ppt_y"/>
                                          </p:val>
                                        </p:tav>
                                      </p:tavLst>
                                    </p:anim>
                                  </p:childTnLst>
                                </p:cTn>
                              </p:par>
                              <p:par>
                                <p:cTn id="154" presetID="2" presetClass="entr" presetSubtype="4" fill="hold" grpId="0" nodeType="withEffect">
                                  <p:stCondLst>
                                    <p:cond delay="0"/>
                                  </p:stCondLst>
                                  <p:childTnLst>
                                    <p:set>
                                      <p:cBhvr>
                                        <p:cTn id="155" dur="1" fill="hold">
                                          <p:stCondLst>
                                            <p:cond delay="0"/>
                                          </p:stCondLst>
                                        </p:cTn>
                                        <p:tgtEl>
                                          <p:spTgt spid="69"/>
                                        </p:tgtEl>
                                        <p:attrNameLst>
                                          <p:attrName>style.visibility</p:attrName>
                                        </p:attrNameLst>
                                      </p:cBhvr>
                                      <p:to>
                                        <p:strVal val="visible"/>
                                      </p:to>
                                    </p:set>
                                    <p:anim calcmode="lin" valueType="num">
                                      <p:cBhvr additive="base">
                                        <p:cTn id="156" dur="500" fill="hold"/>
                                        <p:tgtEl>
                                          <p:spTgt spid="69"/>
                                        </p:tgtEl>
                                        <p:attrNameLst>
                                          <p:attrName>ppt_x</p:attrName>
                                        </p:attrNameLst>
                                      </p:cBhvr>
                                      <p:tavLst>
                                        <p:tav tm="0">
                                          <p:val>
                                            <p:strVal val="#ppt_x"/>
                                          </p:val>
                                        </p:tav>
                                        <p:tav tm="100000">
                                          <p:val>
                                            <p:strVal val="#ppt_x"/>
                                          </p:val>
                                        </p:tav>
                                      </p:tavLst>
                                    </p:anim>
                                    <p:anim calcmode="lin" valueType="num">
                                      <p:cBhvr additive="base">
                                        <p:cTn id="157" dur="500" fill="hold"/>
                                        <p:tgtEl>
                                          <p:spTgt spid="69"/>
                                        </p:tgtEl>
                                        <p:attrNameLst>
                                          <p:attrName>ppt_y</p:attrName>
                                        </p:attrNameLst>
                                      </p:cBhvr>
                                      <p:tavLst>
                                        <p:tav tm="0">
                                          <p:val>
                                            <p:strVal val="1+#ppt_h/2"/>
                                          </p:val>
                                        </p:tav>
                                        <p:tav tm="100000">
                                          <p:val>
                                            <p:strVal val="#ppt_y"/>
                                          </p:val>
                                        </p:tav>
                                      </p:tavLst>
                                    </p:anim>
                                  </p:childTnLst>
                                </p:cTn>
                              </p:par>
                              <p:par>
                                <p:cTn id="158" presetID="2" presetClass="entr" presetSubtype="4" fill="hold" grpId="0" nodeType="withEffect">
                                  <p:stCondLst>
                                    <p:cond delay="0"/>
                                  </p:stCondLst>
                                  <p:childTnLst>
                                    <p:set>
                                      <p:cBhvr>
                                        <p:cTn id="159" dur="1" fill="hold">
                                          <p:stCondLst>
                                            <p:cond delay="0"/>
                                          </p:stCondLst>
                                        </p:cTn>
                                        <p:tgtEl>
                                          <p:spTgt spid="70"/>
                                        </p:tgtEl>
                                        <p:attrNameLst>
                                          <p:attrName>style.visibility</p:attrName>
                                        </p:attrNameLst>
                                      </p:cBhvr>
                                      <p:to>
                                        <p:strVal val="visible"/>
                                      </p:to>
                                    </p:set>
                                    <p:anim calcmode="lin" valueType="num">
                                      <p:cBhvr additive="base">
                                        <p:cTn id="160" dur="500" fill="hold"/>
                                        <p:tgtEl>
                                          <p:spTgt spid="70"/>
                                        </p:tgtEl>
                                        <p:attrNameLst>
                                          <p:attrName>ppt_x</p:attrName>
                                        </p:attrNameLst>
                                      </p:cBhvr>
                                      <p:tavLst>
                                        <p:tav tm="0">
                                          <p:val>
                                            <p:strVal val="#ppt_x"/>
                                          </p:val>
                                        </p:tav>
                                        <p:tav tm="100000">
                                          <p:val>
                                            <p:strVal val="#ppt_x"/>
                                          </p:val>
                                        </p:tav>
                                      </p:tavLst>
                                    </p:anim>
                                    <p:anim calcmode="lin" valueType="num">
                                      <p:cBhvr additive="base">
                                        <p:cTn id="161" dur="500" fill="hold"/>
                                        <p:tgtEl>
                                          <p:spTgt spid="70"/>
                                        </p:tgtEl>
                                        <p:attrNameLst>
                                          <p:attrName>ppt_y</p:attrName>
                                        </p:attrNameLst>
                                      </p:cBhvr>
                                      <p:tavLst>
                                        <p:tav tm="0">
                                          <p:val>
                                            <p:strVal val="1+#ppt_h/2"/>
                                          </p:val>
                                        </p:tav>
                                        <p:tav tm="100000">
                                          <p:val>
                                            <p:strVal val="#ppt_y"/>
                                          </p:val>
                                        </p:tav>
                                      </p:tavLst>
                                    </p:anim>
                                  </p:childTnLst>
                                </p:cTn>
                              </p:par>
                              <p:par>
                                <p:cTn id="162" presetID="2" presetClass="entr" presetSubtype="4" fill="hold" nodeType="withEffect">
                                  <p:stCondLst>
                                    <p:cond delay="0"/>
                                  </p:stCondLst>
                                  <p:childTnLst>
                                    <p:set>
                                      <p:cBhvr>
                                        <p:cTn id="163" dur="1" fill="hold">
                                          <p:stCondLst>
                                            <p:cond delay="0"/>
                                          </p:stCondLst>
                                        </p:cTn>
                                        <p:tgtEl>
                                          <p:spTgt spid="61"/>
                                        </p:tgtEl>
                                        <p:attrNameLst>
                                          <p:attrName>style.visibility</p:attrName>
                                        </p:attrNameLst>
                                      </p:cBhvr>
                                      <p:to>
                                        <p:strVal val="visible"/>
                                      </p:to>
                                    </p:set>
                                    <p:anim calcmode="lin" valueType="num">
                                      <p:cBhvr additive="base">
                                        <p:cTn id="164" dur="500" fill="hold"/>
                                        <p:tgtEl>
                                          <p:spTgt spid="61"/>
                                        </p:tgtEl>
                                        <p:attrNameLst>
                                          <p:attrName>ppt_x</p:attrName>
                                        </p:attrNameLst>
                                      </p:cBhvr>
                                      <p:tavLst>
                                        <p:tav tm="0">
                                          <p:val>
                                            <p:strVal val="#ppt_x"/>
                                          </p:val>
                                        </p:tav>
                                        <p:tav tm="100000">
                                          <p:val>
                                            <p:strVal val="#ppt_x"/>
                                          </p:val>
                                        </p:tav>
                                      </p:tavLst>
                                    </p:anim>
                                    <p:anim calcmode="lin" valueType="num">
                                      <p:cBhvr additive="base">
                                        <p:cTn id="165" dur="500" fill="hold"/>
                                        <p:tgtEl>
                                          <p:spTgt spid="61"/>
                                        </p:tgtEl>
                                        <p:attrNameLst>
                                          <p:attrName>ppt_y</p:attrName>
                                        </p:attrNameLst>
                                      </p:cBhvr>
                                      <p:tavLst>
                                        <p:tav tm="0">
                                          <p:val>
                                            <p:strVal val="1+#ppt_h/2"/>
                                          </p:val>
                                        </p:tav>
                                        <p:tav tm="100000">
                                          <p:val>
                                            <p:strVal val="#ppt_y"/>
                                          </p:val>
                                        </p:tav>
                                      </p:tavLst>
                                    </p:anim>
                                  </p:childTnLst>
                                </p:cTn>
                              </p:par>
                              <p:par>
                                <p:cTn id="166" presetID="2" presetClass="entr" presetSubtype="4" fill="hold" nodeType="withEffect">
                                  <p:stCondLst>
                                    <p:cond delay="0"/>
                                  </p:stCondLst>
                                  <p:childTnLst>
                                    <p:set>
                                      <p:cBhvr>
                                        <p:cTn id="167" dur="1" fill="hold">
                                          <p:stCondLst>
                                            <p:cond delay="0"/>
                                          </p:stCondLst>
                                        </p:cTn>
                                        <p:tgtEl>
                                          <p:spTgt spid="62"/>
                                        </p:tgtEl>
                                        <p:attrNameLst>
                                          <p:attrName>style.visibility</p:attrName>
                                        </p:attrNameLst>
                                      </p:cBhvr>
                                      <p:to>
                                        <p:strVal val="visible"/>
                                      </p:to>
                                    </p:set>
                                    <p:anim calcmode="lin" valueType="num">
                                      <p:cBhvr additive="base">
                                        <p:cTn id="168" dur="500" fill="hold"/>
                                        <p:tgtEl>
                                          <p:spTgt spid="62"/>
                                        </p:tgtEl>
                                        <p:attrNameLst>
                                          <p:attrName>ppt_x</p:attrName>
                                        </p:attrNameLst>
                                      </p:cBhvr>
                                      <p:tavLst>
                                        <p:tav tm="0">
                                          <p:val>
                                            <p:strVal val="#ppt_x"/>
                                          </p:val>
                                        </p:tav>
                                        <p:tav tm="100000">
                                          <p:val>
                                            <p:strVal val="#ppt_x"/>
                                          </p:val>
                                        </p:tav>
                                      </p:tavLst>
                                    </p:anim>
                                    <p:anim calcmode="lin" valueType="num">
                                      <p:cBhvr additive="base">
                                        <p:cTn id="169" dur="500" fill="hold"/>
                                        <p:tgtEl>
                                          <p:spTgt spid="62"/>
                                        </p:tgtEl>
                                        <p:attrNameLst>
                                          <p:attrName>ppt_y</p:attrName>
                                        </p:attrNameLst>
                                      </p:cBhvr>
                                      <p:tavLst>
                                        <p:tav tm="0">
                                          <p:val>
                                            <p:strVal val="1+#ppt_h/2"/>
                                          </p:val>
                                        </p:tav>
                                        <p:tav tm="100000">
                                          <p:val>
                                            <p:strVal val="#ppt_y"/>
                                          </p:val>
                                        </p:tav>
                                      </p:tavLst>
                                    </p:anim>
                                  </p:childTnLst>
                                </p:cTn>
                              </p:par>
                              <p:par>
                                <p:cTn id="170" presetID="2" presetClass="entr" presetSubtype="4" fill="hold" grpId="0" nodeType="withEffect">
                                  <p:stCondLst>
                                    <p:cond delay="0"/>
                                  </p:stCondLst>
                                  <p:childTnLst>
                                    <p:set>
                                      <p:cBhvr>
                                        <p:cTn id="171" dur="1" fill="hold">
                                          <p:stCondLst>
                                            <p:cond delay="0"/>
                                          </p:stCondLst>
                                        </p:cTn>
                                        <p:tgtEl>
                                          <p:spTgt spid="73"/>
                                        </p:tgtEl>
                                        <p:attrNameLst>
                                          <p:attrName>style.visibility</p:attrName>
                                        </p:attrNameLst>
                                      </p:cBhvr>
                                      <p:to>
                                        <p:strVal val="visible"/>
                                      </p:to>
                                    </p:set>
                                    <p:anim calcmode="lin" valueType="num">
                                      <p:cBhvr additive="base">
                                        <p:cTn id="172" dur="500" fill="hold"/>
                                        <p:tgtEl>
                                          <p:spTgt spid="73"/>
                                        </p:tgtEl>
                                        <p:attrNameLst>
                                          <p:attrName>ppt_x</p:attrName>
                                        </p:attrNameLst>
                                      </p:cBhvr>
                                      <p:tavLst>
                                        <p:tav tm="0">
                                          <p:val>
                                            <p:strVal val="#ppt_x"/>
                                          </p:val>
                                        </p:tav>
                                        <p:tav tm="100000">
                                          <p:val>
                                            <p:strVal val="#ppt_x"/>
                                          </p:val>
                                        </p:tav>
                                      </p:tavLst>
                                    </p:anim>
                                    <p:anim calcmode="lin" valueType="num">
                                      <p:cBhvr additive="base">
                                        <p:cTn id="173" dur="500" fill="hold"/>
                                        <p:tgtEl>
                                          <p:spTgt spid="73"/>
                                        </p:tgtEl>
                                        <p:attrNameLst>
                                          <p:attrName>ppt_y</p:attrName>
                                        </p:attrNameLst>
                                      </p:cBhvr>
                                      <p:tavLst>
                                        <p:tav tm="0">
                                          <p:val>
                                            <p:strVal val="1+#ppt_h/2"/>
                                          </p:val>
                                        </p:tav>
                                        <p:tav tm="100000">
                                          <p:val>
                                            <p:strVal val="#ppt_y"/>
                                          </p:val>
                                        </p:tav>
                                      </p:tavLst>
                                    </p:anim>
                                  </p:childTnLst>
                                </p:cTn>
                              </p:par>
                              <p:par>
                                <p:cTn id="174" presetID="2" presetClass="entr" presetSubtype="4" fill="hold" grpId="0" nodeType="withEffect">
                                  <p:stCondLst>
                                    <p:cond delay="0"/>
                                  </p:stCondLst>
                                  <p:childTnLst>
                                    <p:set>
                                      <p:cBhvr>
                                        <p:cTn id="175" dur="1" fill="hold">
                                          <p:stCondLst>
                                            <p:cond delay="0"/>
                                          </p:stCondLst>
                                        </p:cTn>
                                        <p:tgtEl>
                                          <p:spTgt spid="72"/>
                                        </p:tgtEl>
                                        <p:attrNameLst>
                                          <p:attrName>style.visibility</p:attrName>
                                        </p:attrNameLst>
                                      </p:cBhvr>
                                      <p:to>
                                        <p:strVal val="visible"/>
                                      </p:to>
                                    </p:set>
                                    <p:anim calcmode="lin" valueType="num">
                                      <p:cBhvr additive="base">
                                        <p:cTn id="176" dur="500" fill="hold"/>
                                        <p:tgtEl>
                                          <p:spTgt spid="72"/>
                                        </p:tgtEl>
                                        <p:attrNameLst>
                                          <p:attrName>ppt_x</p:attrName>
                                        </p:attrNameLst>
                                      </p:cBhvr>
                                      <p:tavLst>
                                        <p:tav tm="0">
                                          <p:val>
                                            <p:strVal val="#ppt_x"/>
                                          </p:val>
                                        </p:tav>
                                        <p:tav tm="100000">
                                          <p:val>
                                            <p:strVal val="#ppt_x"/>
                                          </p:val>
                                        </p:tav>
                                      </p:tavLst>
                                    </p:anim>
                                    <p:anim calcmode="lin" valueType="num">
                                      <p:cBhvr additive="base">
                                        <p:cTn id="177" dur="500" fill="hold"/>
                                        <p:tgtEl>
                                          <p:spTgt spid="72"/>
                                        </p:tgtEl>
                                        <p:attrNameLst>
                                          <p:attrName>ppt_y</p:attrName>
                                        </p:attrNameLst>
                                      </p:cBhvr>
                                      <p:tavLst>
                                        <p:tav tm="0">
                                          <p:val>
                                            <p:strVal val="1+#ppt_h/2"/>
                                          </p:val>
                                        </p:tav>
                                        <p:tav tm="100000">
                                          <p:val>
                                            <p:strVal val="#ppt_y"/>
                                          </p:val>
                                        </p:tav>
                                      </p:tavLst>
                                    </p:anim>
                                  </p:childTnLst>
                                </p:cTn>
                              </p:par>
                              <p:par>
                                <p:cTn id="178" presetID="2" presetClass="entr" presetSubtype="4" fill="hold" nodeType="withEffect">
                                  <p:stCondLst>
                                    <p:cond delay="0"/>
                                  </p:stCondLst>
                                  <p:childTnLst>
                                    <p:set>
                                      <p:cBhvr>
                                        <p:cTn id="179" dur="1" fill="hold">
                                          <p:stCondLst>
                                            <p:cond delay="0"/>
                                          </p:stCondLst>
                                        </p:cTn>
                                        <p:tgtEl>
                                          <p:spTgt spid="64"/>
                                        </p:tgtEl>
                                        <p:attrNameLst>
                                          <p:attrName>style.visibility</p:attrName>
                                        </p:attrNameLst>
                                      </p:cBhvr>
                                      <p:to>
                                        <p:strVal val="visible"/>
                                      </p:to>
                                    </p:set>
                                    <p:anim calcmode="lin" valueType="num">
                                      <p:cBhvr additive="base">
                                        <p:cTn id="180" dur="500" fill="hold"/>
                                        <p:tgtEl>
                                          <p:spTgt spid="64"/>
                                        </p:tgtEl>
                                        <p:attrNameLst>
                                          <p:attrName>ppt_x</p:attrName>
                                        </p:attrNameLst>
                                      </p:cBhvr>
                                      <p:tavLst>
                                        <p:tav tm="0">
                                          <p:val>
                                            <p:strVal val="#ppt_x"/>
                                          </p:val>
                                        </p:tav>
                                        <p:tav tm="100000">
                                          <p:val>
                                            <p:strVal val="#ppt_x"/>
                                          </p:val>
                                        </p:tav>
                                      </p:tavLst>
                                    </p:anim>
                                    <p:anim calcmode="lin" valueType="num">
                                      <p:cBhvr additive="base">
                                        <p:cTn id="181" dur="500" fill="hold"/>
                                        <p:tgtEl>
                                          <p:spTgt spid="64"/>
                                        </p:tgtEl>
                                        <p:attrNameLst>
                                          <p:attrName>ppt_y</p:attrName>
                                        </p:attrNameLst>
                                      </p:cBhvr>
                                      <p:tavLst>
                                        <p:tav tm="0">
                                          <p:val>
                                            <p:strVal val="1+#ppt_h/2"/>
                                          </p:val>
                                        </p:tav>
                                        <p:tav tm="100000">
                                          <p:val>
                                            <p:strVal val="#ppt_y"/>
                                          </p:val>
                                        </p:tav>
                                      </p:tavLst>
                                    </p:anim>
                                  </p:childTnLst>
                                </p:cTn>
                              </p:par>
                              <p:par>
                                <p:cTn id="182" presetID="2" presetClass="entr" presetSubtype="4" fill="hold" grpId="0" nodeType="withEffect">
                                  <p:stCondLst>
                                    <p:cond delay="0"/>
                                  </p:stCondLst>
                                  <p:childTnLst>
                                    <p:set>
                                      <p:cBhvr>
                                        <p:cTn id="183" dur="1" fill="hold">
                                          <p:stCondLst>
                                            <p:cond delay="0"/>
                                          </p:stCondLst>
                                        </p:cTn>
                                        <p:tgtEl>
                                          <p:spTgt spid="81"/>
                                        </p:tgtEl>
                                        <p:attrNameLst>
                                          <p:attrName>style.visibility</p:attrName>
                                        </p:attrNameLst>
                                      </p:cBhvr>
                                      <p:to>
                                        <p:strVal val="visible"/>
                                      </p:to>
                                    </p:set>
                                    <p:anim calcmode="lin" valueType="num">
                                      <p:cBhvr additive="base">
                                        <p:cTn id="184" dur="500" fill="hold"/>
                                        <p:tgtEl>
                                          <p:spTgt spid="81"/>
                                        </p:tgtEl>
                                        <p:attrNameLst>
                                          <p:attrName>ppt_x</p:attrName>
                                        </p:attrNameLst>
                                      </p:cBhvr>
                                      <p:tavLst>
                                        <p:tav tm="0">
                                          <p:val>
                                            <p:strVal val="#ppt_x"/>
                                          </p:val>
                                        </p:tav>
                                        <p:tav tm="100000">
                                          <p:val>
                                            <p:strVal val="#ppt_x"/>
                                          </p:val>
                                        </p:tav>
                                      </p:tavLst>
                                    </p:anim>
                                    <p:anim calcmode="lin" valueType="num">
                                      <p:cBhvr additive="base">
                                        <p:cTn id="185" dur="500" fill="hold"/>
                                        <p:tgtEl>
                                          <p:spTgt spid="81"/>
                                        </p:tgtEl>
                                        <p:attrNameLst>
                                          <p:attrName>ppt_y</p:attrName>
                                        </p:attrNameLst>
                                      </p:cBhvr>
                                      <p:tavLst>
                                        <p:tav tm="0">
                                          <p:val>
                                            <p:strVal val="1+#ppt_h/2"/>
                                          </p:val>
                                        </p:tav>
                                        <p:tav tm="100000">
                                          <p:val>
                                            <p:strVal val="#ppt_y"/>
                                          </p:val>
                                        </p:tav>
                                      </p:tavLst>
                                    </p:anim>
                                  </p:childTnLst>
                                </p:cTn>
                              </p:par>
                              <p:par>
                                <p:cTn id="186" presetID="1" presetClass="entr" presetSubtype="0" fill="hold" grpId="0" nodeType="withEffect">
                                  <p:stCondLst>
                                    <p:cond delay="0"/>
                                  </p:stCondLst>
                                  <p:childTnLst>
                                    <p:set>
                                      <p:cBhvr>
                                        <p:cTn id="187" dur="1" fill="hold">
                                          <p:stCondLst>
                                            <p:cond delay="0"/>
                                          </p:stCondLst>
                                        </p:cTn>
                                        <p:tgtEl>
                                          <p:spTgt spid="74"/>
                                        </p:tgtEl>
                                        <p:attrNameLst>
                                          <p:attrName>style.visibility</p:attrName>
                                        </p:attrNameLst>
                                      </p:cBhvr>
                                      <p:to>
                                        <p:strVal val="visible"/>
                                      </p:to>
                                    </p:set>
                                  </p:childTnLst>
                                </p:cTn>
                              </p:par>
                              <p:par>
                                <p:cTn id="188" presetID="2" presetClass="entr" presetSubtype="4" fill="hold" grpId="0" nodeType="withEffect">
                                  <p:stCondLst>
                                    <p:cond delay="0"/>
                                  </p:stCondLst>
                                  <p:childTnLst>
                                    <p:set>
                                      <p:cBhvr>
                                        <p:cTn id="189" dur="1" fill="hold">
                                          <p:stCondLst>
                                            <p:cond delay="0"/>
                                          </p:stCondLst>
                                        </p:cTn>
                                        <p:tgtEl>
                                          <p:spTgt spid="80"/>
                                        </p:tgtEl>
                                        <p:attrNameLst>
                                          <p:attrName>style.visibility</p:attrName>
                                        </p:attrNameLst>
                                      </p:cBhvr>
                                      <p:to>
                                        <p:strVal val="visible"/>
                                      </p:to>
                                    </p:set>
                                    <p:anim calcmode="lin" valueType="num">
                                      <p:cBhvr additive="base">
                                        <p:cTn id="190" dur="500" fill="hold"/>
                                        <p:tgtEl>
                                          <p:spTgt spid="80"/>
                                        </p:tgtEl>
                                        <p:attrNameLst>
                                          <p:attrName>ppt_x</p:attrName>
                                        </p:attrNameLst>
                                      </p:cBhvr>
                                      <p:tavLst>
                                        <p:tav tm="0">
                                          <p:val>
                                            <p:strVal val="#ppt_x"/>
                                          </p:val>
                                        </p:tav>
                                        <p:tav tm="100000">
                                          <p:val>
                                            <p:strVal val="#ppt_x"/>
                                          </p:val>
                                        </p:tav>
                                      </p:tavLst>
                                    </p:anim>
                                    <p:anim calcmode="lin" valueType="num">
                                      <p:cBhvr additive="base">
                                        <p:cTn id="191" dur="500" fill="hold"/>
                                        <p:tgtEl>
                                          <p:spTgt spid="80"/>
                                        </p:tgtEl>
                                        <p:attrNameLst>
                                          <p:attrName>ppt_y</p:attrName>
                                        </p:attrNameLst>
                                      </p:cBhvr>
                                      <p:tavLst>
                                        <p:tav tm="0">
                                          <p:val>
                                            <p:strVal val="1+#ppt_h/2"/>
                                          </p:val>
                                        </p:tav>
                                        <p:tav tm="100000">
                                          <p:val>
                                            <p:strVal val="#ppt_y"/>
                                          </p:val>
                                        </p:tav>
                                      </p:tavLst>
                                    </p:anim>
                                  </p:childTnLst>
                                </p:cTn>
                              </p:par>
                              <p:par>
                                <p:cTn id="192" presetID="1" presetClass="entr" presetSubtype="0" fill="hold" nodeType="withEffect">
                                  <p:stCondLst>
                                    <p:cond delay="0"/>
                                  </p:stCondLst>
                                  <p:childTnLst>
                                    <p:set>
                                      <p:cBhvr>
                                        <p:cTn id="193" dur="1" fill="hold">
                                          <p:stCondLst>
                                            <p:cond delay="0"/>
                                          </p:stCondLst>
                                        </p:cTn>
                                        <p:tgtEl>
                                          <p:spTgt spid="78"/>
                                        </p:tgtEl>
                                        <p:attrNameLst>
                                          <p:attrName>style.visibility</p:attrName>
                                        </p:attrNameLst>
                                      </p:cBhvr>
                                      <p:to>
                                        <p:strVal val="visible"/>
                                      </p:to>
                                    </p:set>
                                  </p:childTnLst>
                                </p:cTn>
                              </p:par>
                              <p:par>
                                <p:cTn id="194" presetID="14" presetClass="exit" presetSubtype="10" fill="hold" grpId="1" nodeType="withEffect">
                                  <p:stCondLst>
                                    <p:cond delay="0"/>
                                  </p:stCondLst>
                                  <p:childTnLst>
                                    <p:animEffect transition="out" filter="randombar(horizontal)">
                                      <p:cBhvr>
                                        <p:cTn id="195" dur="500"/>
                                        <p:tgtEl>
                                          <p:spTgt spid="9"/>
                                        </p:tgtEl>
                                      </p:cBhvr>
                                    </p:animEffect>
                                    <p:set>
                                      <p:cBhvr>
                                        <p:cTn id="196" dur="1" fill="hold">
                                          <p:stCondLst>
                                            <p:cond delay="499"/>
                                          </p:stCondLst>
                                        </p:cTn>
                                        <p:tgtEl>
                                          <p:spTgt spid="9"/>
                                        </p:tgtEl>
                                        <p:attrNameLst>
                                          <p:attrName>style.visibility</p:attrName>
                                        </p:attrNameLst>
                                      </p:cBhvr>
                                      <p:to>
                                        <p:strVal val="hidden"/>
                                      </p:to>
                                    </p:set>
                                  </p:childTnLst>
                                </p:cTn>
                              </p:par>
                            </p:childTnLst>
                          </p:cTn>
                        </p:par>
                      </p:childTnLst>
                    </p:cTn>
                  </p:par>
                  <p:par>
                    <p:cTn id="197" fill="hold">
                      <p:stCondLst>
                        <p:cond delay="indefinite"/>
                      </p:stCondLst>
                      <p:childTnLst>
                        <p:par>
                          <p:cTn id="198" fill="hold">
                            <p:stCondLst>
                              <p:cond delay="0"/>
                            </p:stCondLst>
                            <p:childTnLst>
                              <p:par>
                                <p:cTn id="199" presetID="22" presetClass="entr" presetSubtype="4" fill="hold" grpId="0" nodeType="clickEffect">
                                  <p:stCondLst>
                                    <p:cond delay="0"/>
                                  </p:stCondLst>
                                  <p:childTnLst>
                                    <p:set>
                                      <p:cBhvr>
                                        <p:cTn id="200" dur="1" fill="hold">
                                          <p:stCondLst>
                                            <p:cond delay="0"/>
                                          </p:stCondLst>
                                        </p:cTn>
                                        <p:tgtEl>
                                          <p:spTgt spid="37"/>
                                        </p:tgtEl>
                                        <p:attrNameLst>
                                          <p:attrName>style.visibility</p:attrName>
                                        </p:attrNameLst>
                                      </p:cBhvr>
                                      <p:to>
                                        <p:strVal val="visible"/>
                                      </p:to>
                                    </p:set>
                                    <p:animEffect transition="in" filter="wipe(down)">
                                      <p:cBhvr>
                                        <p:cTn id="201" dur="500"/>
                                        <p:tgtEl>
                                          <p:spTgt spid="37"/>
                                        </p:tgtEl>
                                      </p:cBhvr>
                                    </p:animEffect>
                                  </p:childTnLst>
                                </p:cTn>
                              </p:par>
                              <p:par>
                                <p:cTn id="202" presetID="10" presetClass="exit" presetSubtype="0" fill="hold" nodeType="withEffect">
                                  <p:stCondLst>
                                    <p:cond delay="0"/>
                                  </p:stCondLst>
                                  <p:childTnLst>
                                    <p:animEffect transition="out" filter="fade">
                                      <p:cBhvr>
                                        <p:cTn id="203" dur="500"/>
                                        <p:tgtEl>
                                          <p:spTgt spid="78"/>
                                        </p:tgtEl>
                                      </p:cBhvr>
                                    </p:animEffect>
                                    <p:set>
                                      <p:cBhvr>
                                        <p:cTn id="204" dur="1" fill="hold">
                                          <p:stCondLst>
                                            <p:cond delay="499"/>
                                          </p:stCondLst>
                                        </p:cTn>
                                        <p:tgtEl>
                                          <p:spTgt spid="78"/>
                                        </p:tgtEl>
                                        <p:attrNameLst>
                                          <p:attrName>style.visibility</p:attrName>
                                        </p:attrNameLst>
                                      </p:cBhvr>
                                      <p:to>
                                        <p:strVal val="hidden"/>
                                      </p:to>
                                    </p:set>
                                  </p:childTnLst>
                                </p:cTn>
                              </p:par>
                              <p:par>
                                <p:cTn id="205" presetID="22" presetClass="entr" presetSubtype="4" fill="hold" grpId="0" nodeType="withEffect">
                                  <p:stCondLst>
                                    <p:cond delay="0"/>
                                  </p:stCondLst>
                                  <p:childTnLst>
                                    <p:set>
                                      <p:cBhvr>
                                        <p:cTn id="206" dur="1" fill="hold">
                                          <p:stCondLst>
                                            <p:cond delay="0"/>
                                          </p:stCondLst>
                                        </p:cTn>
                                        <p:tgtEl>
                                          <p:spTgt spid="36"/>
                                        </p:tgtEl>
                                        <p:attrNameLst>
                                          <p:attrName>style.visibility</p:attrName>
                                        </p:attrNameLst>
                                      </p:cBhvr>
                                      <p:to>
                                        <p:strVal val="visible"/>
                                      </p:to>
                                    </p:set>
                                    <p:animEffect transition="in" filter="wipe(down)">
                                      <p:cBhvr>
                                        <p:cTn id="207" dur="500"/>
                                        <p:tgtEl>
                                          <p:spTgt spid="36"/>
                                        </p:tgtEl>
                                      </p:cBhvr>
                                    </p:animEffect>
                                  </p:childTnLst>
                                </p:cTn>
                              </p:par>
                              <p:par>
                                <p:cTn id="208" presetID="22" presetClass="entr" presetSubtype="4" fill="hold" nodeType="withEffect">
                                  <p:stCondLst>
                                    <p:cond delay="0"/>
                                  </p:stCondLst>
                                  <p:childTnLst>
                                    <p:set>
                                      <p:cBhvr>
                                        <p:cTn id="209" dur="1" fill="hold">
                                          <p:stCondLst>
                                            <p:cond delay="0"/>
                                          </p:stCondLst>
                                        </p:cTn>
                                        <p:tgtEl>
                                          <p:spTgt spid="39"/>
                                        </p:tgtEl>
                                        <p:attrNameLst>
                                          <p:attrName>style.visibility</p:attrName>
                                        </p:attrNameLst>
                                      </p:cBhvr>
                                      <p:to>
                                        <p:strVal val="visible"/>
                                      </p:to>
                                    </p:set>
                                    <p:animEffect transition="in" filter="wipe(down)">
                                      <p:cBhvr>
                                        <p:cTn id="210" dur="500"/>
                                        <p:tgtEl>
                                          <p:spTgt spid="39"/>
                                        </p:tgtEl>
                                      </p:cBhvr>
                                    </p:animEffect>
                                  </p:childTnLst>
                                </p:cTn>
                              </p:par>
                              <p:par>
                                <p:cTn id="211" presetID="22" presetClass="entr" presetSubtype="4" fill="hold" grpId="0" nodeType="withEffect">
                                  <p:stCondLst>
                                    <p:cond delay="0"/>
                                  </p:stCondLst>
                                  <p:childTnLst>
                                    <p:set>
                                      <p:cBhvr>
                                        <p:cTn id="212" dur="1" fill="hold">
                                          <p:stCondLst>
                                            <p:cond delay="0"/>
                                          </p:stCondLst>
                                        </p:cTn>
                                        <p:tgtEl>
                                          <p:spTgt spid="40"/>
                                        </p:tgtEl>
                                        <p:attrNameLst>
                                          <p:attrName>style.visibility</p:attrName>
                                        </p:attrNameLst>
                                      </p:cBhvr>
                                      <p:to>
                                        <p:strVal val="visible"/>
                                      </p:to>
                                    </p:set>
                                    <p:animEffect transition="in" filter="wipe(down)">
                                      <p:cBhvr>
                                        <p:cTn id="213" dur="500"/>
                                        <p:tgtEl>
                                          <p:spTgt spid="40"/>
                                        </p:tgtEl>
                                      </p:cBhvr>
                                    </p:animEffect>
                                  </p:childTnLst>
                                </p:cTn>
                              </p:par>
                              <p:par>
                                <p:cTn id="214" presetID="22" presetClass="entr" presetSubtype="4" fill="hold" grpId="0" nodeType="withEffect">
                                  <p:stCondLst>
                                    <p:cond delay="0"/>
                                  </p:stCondLst>
                                  <p:childTnLst>
                                    <p:set>
                                      <p:cBhvr>
                                        <p:cTn id="215" dur="1" fill="hold">
                                          <p:stCondLst>
                                            <p:cond delay="0"/>
                                          </p:stCondLst>
                                        </p:cTn>
                                        <p:tgtEl>
                                          <p:spTgt spid="41"/>
                                        </p:tgtEl>
                                        <p:attrNameLst>
                                          <p:attrName>style.visibility</p:attrName>
                                        </p:attrNameLst>
                                      </p:cBhvr>
                                      <p:to>
                                        <p:strVal val="visible"/>
                                      </p:to>
                                    </p:set>
                                    <p:animEffect transition="in" filter="wipe(down)">
                                      <p:cBhvr>
                                        <p:cTn id="216" dur="500"/>
                                        <p:tgtEl>
                                          <p:spTgt spid="41"/>
                                        </p:tgtEl>
                                      </p:cBhvr>
                                    </p:animEffect>
                                  </p:childTnLst>
                                </p:cTn>
                              </p:par>
                              <p:par>
                                <p:cTn id="217" presetID="22" presetClass="entr" presetSubtype="4" fill="hold" nodeType="withEffect">
                                  <p:stCondLst>
                                    <p:cond delay="0"/>
                                  </p:stCondLst>
                                  <p:childTnLst>
                                    <p:set>
                                      <p:cBhvr>
                                        <p:cTn id="218" dur="1" fill="hold">
                                          <p:stCondLst>
                                            <p:cond delay="0"/>
                                          </p:stCondLst>
                                        </p:cTn>
                                        <p:tgtEl>
                                          <p:spTgt spid="35"/>
                                        </p:tgtEl>
                                        <p:attrNameLst>
                                          <p:attrName>style.visibility</p:attrName>
                                        </p:attrNameLst>
                                      </p:cBhvr>
                                      <p:to>
                                        <p:strVal val="visible"/>
                                      </p:to>
                                    </p:set>
                                    <p:animEffect transition="in" filter="wipe(down)">
                                      <p:cBhvr>
                                        <p:cTn id="219" dur="500"/>
                                        <p:tgtEl>
                                          <p:spTgt spid="35"/>
                                        </p:tgtEl>
                                      </p:cBhvr>
                                    </p:animEffect>
                                  </p:childTnLst>
                                </p:cTn>
                              </p:par>
                              <p:par>
                                <p:cTn id="220" presetID="22" presetClass="entr" presetSubtype="4" fill="hold" grpId="0" nodeType="withEffect">
                                  <p:stCondLst>
                                    <p:cond delay="0"/>
                                  </p:stCondLst>
                                  <p:childTnLst>
                                    <p:set>
                                      <p:cBhvr>
                                        <p:cTn id="221" dur="1" fill="hold">
                                          <p:stCondLst>
                                            <p:cond delay="0"/>
                                          </p:stCondLst>
                                        </p:cTn>
                                        <p:tgtEl>
                                          <p:spTgt spid="55"/>
                                        </p:tgtEl>
                                        <p:attrNameLst>
                                          <p:attrName>style.visibility</p:attrName>
                                        </p:attrNameLst>
                                      </p:cBhvr>
                                      <p:to>
                                        <p:strVal val="visible"/>
                                      </p:to>
                                    </p:set>
                                    <p:animEffect transition="in" filter="wipe(down)">
                                      <p:cBhvr>
                                        <p:cTn id="222" dur="500"/>
                                        <p:tgtEl>
                                          <p:spTgt spid="55"/>
                                        </p:tgtEl>
                                      </p:cBhvr>
                                    </p:animEffect>
                                  </p:childTnLst>
                                </p:cTn>
                              </p:par>
                              <p:par>
                                <p:cTn id="223" presetID="22" presetClass="entr" presetSubtype="4" fill="hold" grpId="0" nodeType="withEffect">
                                  <p:stCondLst>
                                    <p:cond delay="0"/>
                                  </p:stCondLst>
                                  <p:childTnLst>
                                    <p:set>
                                      <p:cBhvr>
                                        <p:cTn id="224" dur="1" fill="hold">
                                          <p:stCondLst>
                                            <p:cond delay="0"/>
                                          </p:stCondLst>
                                        </p:cTn>
                                        <p:tgtEl>
                                          <p:spTgt spid="49"/>
                                        </p:tgtEl>
                                        <p:attrNameLst>
                                          <p:attrName>style.visibility</p:attrName>
                                        </p:attrNameLst>
                                      </p:cBhvr>
                                      <p:to>
                                        <p:strVal val="visible"/>
                                      </p:to>
                                    </p:set>
                                    <p:animEffect transition="in" filter="wipe(down)">
                                      <p:cBhvr>
                                        <p:cTn id="225" dur="500"/>
                                        <p:tgtEl>
                                          <p:spTgt spid="49"/>
                                        </p:tgtEl>
                                      </p:cBhvr>
                                    </p:animEffect>
                                  </p:childTnLst>
                                </p:cTn>
                              </p:par>
                              <p:par>
                                <p:cTn id="226" presetID="22" presetClass="entr" presetSubtype="4" fill="hold" grpId="0" nodeType="withEffect">
                                  <p:stCondLst>
                                    <p:cond delay="0"/>
                                  </p:stCondLst>
                                  <p:childTnLst>
                                    <p:set>
                                      <p:cBhvr>
                                        <p:cTn id="227" dur="1" fill="hold">
                                          <p:stCondLst>
                                            <p:cond delay="0"/>
                                          </p:stCondLst>
                                        </p:cTn>
                                        <p:tgtEl>
                                          <p:spTgt spid="53"/>
                                        </p:tgtEl>
                                        <p:attrNameLst>
                                          <p:attrName>style.visibility</p:attrName>
                                        </p:attrNameLst>
                                      </p:cBhvr>
                                      <p:to>
                                        <p:strVal val="visible"/>
                                      </p:to>
                                    </p:set>
                                    <p:animEffect transition="in" filter="wipe(down)">
                                      <p:cBhvr>
                                        <p:cTn id="228" dur="500"/>
                                        <p:tgtEl>
                                          <p:spTgt spid="53"/>
                                        </p:tgtEl>
                                      </p:cBhvr>
                                    </p:animEffect>
                                  </p:childTnLst>
                                </p:cTn>
                              </p:par>
                              <p:par>
                                <p:cTn id="229" presetID="22" presetClass="entr" presetSubtype="4" fill="hold" grpId="0" nodeType="withEffect">
                                  <p:stCondLst>
                                    <p:cond delay="0"/>
                                  </p:stCondLst>
                                  <p:childTnLst>
                                    <p:set>
                                      <p:cBhvr>
                                        <p:cTn id="230" dur="1" fill="hold">
                                          <p:stCondLst>
                                            <p:cond delay="0"/>
                                          </p:stCondLst>
                                        </p:cTn>
                                        <p:tgtEl>
                                          <p:spTgt spid="52"/>
                                        </p:tgtEl>
                                        <p:attrNameLst>
                                          <p:attrName>style.visibility</p:attrName>
                                        </p:attrNameLst>
                                      </p:cBhvr>
                                      <p:to>
                                        <p:strVal val="visible"/>
                                      </p:to>
                                    </p:set>
                                    <p:animEffect transition="in" filter="wipe(down)">
                                      <p:cBhvr>
                                        <p:cTn id="231" dur="500"/>
                                        <p:tgtEl>
                                          <p:spTgt spid="52"/>
                                        </p:tgtEl>
                                      </p:cBhvr>
                                    </p:animEffect>
                                  </p:childTnLst>
                                </p:cTn>
                              </p:par>
                              <p:par>
                                <p:cTn id="232" presetID="22" presetClass="entr" presetSubtype="4" fill="hold" nodeType="withEffect">
                                  <p:stCondLst>
                                    <p:cond delay="0"/>
                                  </p:stCondLst>
                                  <p:childTnLst>
                                    <p:set>
                                      <p:cBhvr>
                                        <p:cTn id="233" dur="1" fill="hold">
                                          <p:stCondLst>
                                            <p:cond delay="0"/>
                                          </p:stCondLst>
                                        </p:cTn>
                                        <p:tgtEl>
                                          <p:spTgt spid="51"/>
                                        </p:tgtEl>
                                        <p:attrNameLst>
                                          <p:attrName>style.visibility</p:attrName>
                                        </p:attrNameLst>
                                      </p:cBhvr>
                                      <p:to>
                                        <p:strVal val="visible"/>
                                      </p:to>
                                    </p:set>
                                    <p:animEffect transition="in" filter="wipe(down)">
                                      <p:cBhvr>
                                        <p:cTn id="234" dur="500"/>
                                        <p:tgtEl>
                                          <p:spTgt spid="51"/>
                                        </p:tgtEl>
                                      </p:cBhvr>
                                    </p:animEffect>
                                  </p:childTnLst>
                                </p:cTn>
                              </p:par>
                              <p:par>
                                <p:cTn id="235" presetID="22" presetClass="entr" presetSubtype="4" fill="hold" grpId="0" nodeType="withEffect">
                                  <p:stCondLst>
                                    <p:cond delay="0"/>
                                  </p:stCondLst>
                                  <p:childTnLst>
                                    <p:set>
                                      <p:cBhvr>
                                        <p:cTn id="236" dur="1" fill="hold">
                                          <p:stCondLst>
                                            <p:cond delay="0"/>
                                          </p:stCondLst>
                                        </p:cTn>
                                        <p:tgtEl>
                                          <p:spTgt spid="57"/>
                                        </p:tgtEl>
                                        <p:attrNameLst>
                                          <p:attrName>style.visibility</p:attrName>
                                        </p:attrNameLst>
                                      </p:cBhvr>
                                      <p:to>
                                        <p:strVal val="visible"/>
                                      </p:to>
                                    </p:set>
                                    <p:animEffect transition="in" filter="wipe(down)">
                                      <p:cBhvr>
                                        <p:cTn id="237" dur="500"/>
                                        <p:tgtEl>
                                          <p:spTgt spid="57"/>
                                        </p:tgtEl>
                                      </p:cBhvr>
                                    </p:animEffect>
                                  </p:childTnLst>
                                </p:cTn>
                              </p:par>
                              <p:par>
                                <p:cTn id="238" presetID="22" presetClass="entr" presetSubtype="4" fill="hold" grpId="0" nodeType="withEffect">
                                  <p:stCondLst>
                                    <p:cond delay="0"/>
                                  </p:stCondLst>
                                  <p:childTnLst>
                                    <p:set>
                                      <p:cBhvr>
                                        <p:cTn id="239" dur="1" fill="hold">
                                          <p:stCondLst>
                                            <p:cond delay="0"/>
                                          </p:stCondLst>
                                        </p:cTn>
                                        <p:tgtEl>
                                          <p:spTgt spid="56"/>
                                        </p:tgtEl>
                                        <p:attrNameLst>
                                          <p:attrName>style.visibility</p:attrName>
                                        </p:attrNameLst>
                                      </p:cBhvr>
                                      <p:to>
                                        <p:strVal val="visible"/>
                                      </p:to>
                                    </p:set>
                                    <p:animEffect transition="in" filter="wipe(down)">
                                      <p:cBhvr>
                                        <p:cTn id="240" dur="500"/>
                                        <p:tgtEl>
                                          <p:spTgt spid="56"/>
                                        </p:tgtEl>
                                      </p:cBhvr>
                                    </p:animEffect>
                                  </p:childTnLst>
                                </p:cTn>
                              </p:par>
                              <p:par>
                                <p:cTn id="241" presetID="22" presetClass="entr" presetSubtype="4" fill="hold" nodeType="withEffect">
                                  <p:stCondLst>
                                    <p:cond delay="0"/>
                                  </p:stCondLst>
                                  <p:childTnLst>
                                    <p:set>
                                      <p:cBhvr>
                                        <p:cTn id="242" dur="1" fill="hold">
                                          <p:stCondLst>
                                            <p:cond delay="0"/>
                                          </p:stCondLst>
                                        </p:cTn>
                                        <p:tgtEl>
                                          <p:spTgt spid="50"/>
                                        </p:tgtEl>
                                        <p:attrNameLst>
                                          <p:attrName>style.visibility</p:attrName>
                                        </p:attrNameLst>
                                      </p:cBhvr>
                                      <p:to>
                                        <p:strVal val="visible"/>
                                      </p:to>
                                    </p:set>
                                    <p:animEffect transition="in" filter="wipe(down)">
                                      <p:cBhvr>
                                        <p:cTn id="243" dur="500"/>
                                        <p:tgtEl>
                                          <p:spTgt spid="50"/>
                                        </p:tgtEl>
                                      </p:cBhvr>
                                    </p:animEffect>
                                  </p:childTnLst>
                                </p:cTn>
                              </p:par>
                              <p:par>
                                <p:cTn id="244" presetID="22" presetClass="entr" presetSubtype="4" fill="hold" nodeType="withEffect">
                                  <p:stCondLst>
                                    <p:cond delay="0"/>
                                  </p:stCondLst>
                                  <p:childTnLst>
                                    <p:set>
                                      <p:cBhvr>
                                        <p:cTn id="245" dur="1" fill="hold">
                                          <p:stCondLst>
                                            <p:cond delay="0"/>
                                          </p:stCondLst>
                                        </p:cTn>
                                        <p:tgtEl>
                                          <p:spTgt spid="47"/>
                                        </p:tgtEl>
                                        <p:attrNameLst>
                                          <p:attrName>style.visibility</p:attrName>
                                        </p:attrNameLst>
                                      </p:cBhvr>
                                      <p:to>
                                        <p:strVal val="visible"/>
                                      </p:to>
                                    </p:set>
                                    <p:animEffect transition="in" filter="wipe(down)">
                                      <p:cBhvr>
                                        <p:cTn id="246" dur="500"/>
                                        <p:tgtEl>
                                          <p:spTgt spid="47"/>
                                        </p:tgtEl>
                                      </p:cBhvr>
                                    </p:animEffect>
                                  </p:childTnLst>
                                </p:cTn>
                              </p:par>
                              <p:par>
                                <p:cTn id="247" presetID="22" presetClass="entr" presetSubtype="4" fill="hold" grpId="0" nodeType="withEffect">
                                  <p:stCondLst>
                                    <p:cond delay="0"/>
                                  </p:stCondLst>
                                  <p:childTnLst>
                                    <p:set>
                                      <p:cBhvr>
                                        <p:cTn id="248" dur="1" fill="hold">
                                          <p:stCondLst>
                                            <p:cond delay="0"/>
                                          </p:stCondLst>
                                        </p:cTn>
                                        <p:tgtEl>
                                          <p:spTgt spid="48"/>
                                        </p:tgtEl>
                                        <p:attrNameLst>
                                          <p:attrName>style.visibility</p:attrName>
                                        </p:attrNameLst>
                                      </p:cBhvr>
                                      <p:to>
                                        <p:strVal val="visible"/>
                                      </p:to>
                                    </p:set>
                                    <p:animEffect transition="in" filter="wipe(down)">
                                      <p:cBhvr>
                                        <p:cTn id="249" dur="500"/>
                                        <p:tgtEl>
                                          <p:spTgt spid="48"/>
                                        </p:tgtEl>
                                      </p:cBhvr>
                                    </p:animEffect>
                                  </p:childTnLst>
                                </p:cTn>
                              </p:par>
                              <p:par>
                                <p:cTn id="250" presetID="22" presetClass="entr" presetSubtype="4" fill="hold" grpId="0" nodeType="withEffect">
                                  <p:stCondLst>
                                    <p:cond delay="0"/>
                                  </p:stCondLst>
                                  <p:childTnLst>
                                    <p:set>
                                      <p:cBhvr>
                                        <p:cTn id="251" dur="1" fill="hold">
                                          <p:stCondLst>
                                            <p:cond delay="0"/>
                                          </p:stCondLst>
                                        </p:cTn>
                                        <p:tgtEl>
                                          <p:spTgt spid="46"/>
                                        </p:tgtEl>
                                        <p:attrNameLst>
                                          <p:attrName>style.visibility</p:attrName>
                                        </p:attrNameLst>
                                      </p:cBhvr>
                                      <p:to>
                                        <p:strVal val="visible"/>
                                      </p:to>
                                    </p:set>
                                    <p:animEffect transition="in" filter="wipe(down)">
                                      <p:cBhvr>
                                        <p:cTn id="252" dur="500"/>
                                        <p:tgtEl>
                                          <p:spTgt spid="46"/>
                                        </p:tgtEl>
                                      </p:cBhvr>
                                    </p:animEffect>
                                  </p:childTnLst>
                                </p:cTn>
                              </p:par>
                              <p:par>
                                <p:cTn id="253" presetID="22" presetClass="entr" presetSubtype="4" fill="hold" grpId="0" nodeType="withEffect">
                                  <p:stCondLst>
                                    <p:cond delay="0"/>
                                  </p:stCondLst>
                                  <p:childTnLst>
                                    <p:set>
                                      <p:cBhvr>
                                        <p:cTn id="254" dur="1" fill="hold">
                                          <p:stCondLst>
                                            <p:cond delay="0"/>
                                          </p:stCondLst>
                                        </p:cTn>
                                        <p:tgtEl>
                                          <p:spTgt spid="42"/>
                                        </p:tgtEl>
                                        <p:attrNameLst>
                                          <p:attrName>style.visibility</p:attrName>
                                        </p:attrNameLst>
                                      </p:cBhvr>
                                      <p:to>
                                        <p:strVal val="visible"/>
                                      </p:to>
                                    </p:set>
                                    <p:animEffect transition="in" filter="wipe(down)">
                                      <p:cBhvr>
                                        <p:cTn id="255" dur="500"/>
                                        <p:tgtEl>
                                          <p:spTgt spid="42"/>
                                        </p:tgtEl>
                                      </p:cBhvr>
                                    </p:animEffect>
                                  </p:childTnLst>
                                </p:cTn>
                              </p:par>
                              <p:par>
                                <p:cTn id="256" presetID="22" presetClass="entr" presetSubtype="4" fill="hold" grpId="0" nodeType="withEffect">
                                  <p:stCondLst>
                                    <p:cond delay="0"/>
                                  </p:stCondLst>
                                  <p:childTnLst>
                                    <p:set>
                                      <p:cBhvr>
                                        <p:cTn id="257" dur="1" fill="hold">
                                          <p:stCondLst>
                                            <p:cond delay="0"/>
                                          </p:stCondLst>
                                        </p:cTn>
                                        <p:tgtEl>
                                          <p:spTgt spid="45"/>
                                        </p:tgtEl>
                                        <p:attrNameLst>
                                          <p:attrName>style.visibility</p:attrName>
                                        </p:attrNameLst>
                                      </p:cBhvr>
                                      <p:to>
                                        <p:strVal val="visible"/>
                                      </p:to>
                                    </p:set>
                                    <p:animEffect transition="in" filter="wipe(down)">
                                      <p:cBhvr>
                                        <p:cTn id="258" dur="500"/>
                                        <p:tgtEl>
                                          <p:spTgt spid="45"/>
                                        </p:tgtEl>
                                      </p:cBhvr>
                                    </p:animEffect>
                                  </p:childTnLst>
                                </p:cTn>
                              </p:par>
                              <p:par>
                                <p:cTn id="259" presetID="22" presetClass="entr" presetSubtype="4" fill="hold" nodeType="withEffect">
                                  <p:stCondLst>
                                    <p:cond delay="0"/>
                                  </p:stCondLst>
                                  <p:childTnLst>
                                    <p:set>
                                      <p:cBhvr>
                                        <p:cTn id="260" dur="1" fill="hold">
                                          <p:stCondLst>
                                            <p:cond delay="0"/>
                                          </p:stCondLst>
                                        </p:cTn>
                                        <p:tgtEl>
                                          <p:spTgt spid="43"/>
                                        </p:tgtEl>
                                        <p:attrNameLst>
                                          <p:attrName>style.visibility</p:attrName>
                                        </p:attrNameLst>
                                      </p:cBhvr>
                                      <p:to>
                                        <p:strVal val="visible"/>
                                      </p:to>
                                    </p:set>
                                    <p:animEffect transition="in" filter="wipe(down)">
                                      <p:cBhvr>
                                        <p:cTn id="261" dur="500"/>
                                        <p:tgtEl>
                                          <p:spTgt spid="43"/>
                                        </p:tgtEl>
                                      </p:cBhvr>
                                    </p:animEffect>
                                  </p:childTnLst>
                                </p:cTn>
                              </p:par>
                              <p:par>
                                <p:cTn id="262" presetID="22" presetClass="entr" presetSubtype="4" fill="hold" grpId="0" nodeType="withEffect">
                                  <p:stCondLst>
                                    <p:cond delay="0"/>
                                  </p:stCondLst>
                                  <p:childTnLst>
                                    <p:set>
                                      <p:cBhvr>
                                        <p:cTn id="263" dur="1" fill="hold">
                                          <p:stCondLst>
                                            <p:cond delay="0"/>
                                          </p:stCondLst>
                                        </p:cTn>
                                        <p:tgtEl>
                                          <p:spTgt spid="58"/>
                                        </p:tgtEl>
                                        <p:attrNameLst>
                                          <p:attrName>style.visibility</p:attrName>
                                        </p:attrNameLst>
                                      </p:cBhvr>
                                      <p:to>
                                        <p:strVal val="visible"/>
                                      </p:to>
                                    </p:set>
                                    <p:animEffect transition="in" filter="wipe(down)">
                                      <p:cBhvr>
                                        <p:cTn id="264" dur="500"/>
                                        <p:tgtEl>
                                          <p:spTgt spid="58"/>
                                        </p:tgtEl>
                                      </p:cBhvr>
                                    </p:animEffect>
                                  </p:childTnLst>
                                </p:cTn>
                              </p:par>
                              <p:par>
                                <p:cTn id="265" presetID="22" presetClass="entr" presetSubtype="4" fill="hold" grpId="0" nodeType="withEffect">
                                  <p:stCondLst>
                                    <p:cond delay="0"/>
                                  </p:stCondLst>
                                  <p:childTnLst>
                                    <p:set>
                                      <p:cBhvr>
                                        <p:cTn id="266" dur="1" fill="hold">
                                          <p:stCondLst>
                                            <p:cond delay="0"/>
                                          </p:stCondLst>
                                        </p:cTn>
                                        <p:tgtEl>
                                          <p:spTgt spid="59"/>
                                        </p:tgtEl>
                                        <p:attrNameLst>
                                          <p:attrName>style.visibility</p:attrName>
                                        </p:attrNameLst>
                                      </p:cBhvr>
                                      <p:to>
                                        <p:strVal val="visible"/>
                                      </p:to>
                                    </p:set>
                                    <p:animEffect transition="in" filter="wipe(down)">
                                      <p:cBhvr>
                                        <p:cTn id="267" dur="500"/>
                                        <p:tgtEl>
                                          <p:spTgt spid="59"/>
                                        </p:tgtEl>
                                      </p:cBhvr>
                                    </p:animEffect>
                                  </p:childTnLst>
                                </p:cTn>
                              </p:par>
                              <p:par>
                                <p:cTn id="268" presetID="22" presetClass="entr" presetSubtype="4" fill="hold" nodeType="withEffect">
                                  <p:stCondLst>
                                    <p:cond delay="0"/>
                                  </p:stCondLst>
                                  <p:childTnLst>
                                    <p:set>
                                      <p:cBhvr>
                                        <p:cTn id="269" dur="1" fill="hold">
                                          <p:stCondLst>
                                            <p:cond delay="0"/>
                                          </p:stCondLst>
                                        </p:cTn>
                                        <p:tgtEl>
                                          <p:spTgt spid="44"/>
                                        </p:tgtEl>
                                        <p:attrNameLst>
                                          <p:attrName>style.visibility</p:attrName>
                                        </p:attrNameLst>
                                      </p:cBhvr>
                                      <p:to>
                                        <p:strVal val="visible"/>
                                      </p:to>
                                    </p:set>
                                    <p:animEffect transition="in" filter="wipe(down)">
                                      <p:cBhvr>
                                        <p:cTn id="270" dur="500"/>
                                        <p:tgtEl>
                                          <p:spTgt spid="44"/>
                                        </p:tgtEl>
                                      </p:cBhvr>
                                    </p:animEffect>
                                  </p:childTnLst>
                                </p:cTn>
                              </p:par>
                              <p:par>
                                <p:cTn id="271" presetID="22" presetClass="entr" presetSubtype="4" fill="hold" nodeType="withEffect">
                                  <p:stCondLst>
                                    <p:cond delay="0"/>
                                  </p:stCondLst>
                                  <p:childTnLst>
                                    <p:set>
                                      <p:cBhvr>
                                        <p:cTn id="272" dur="1" fill="hold">
                                          <p:stCondLst>
                                            <p:cond delay="0"/>
                                          </p:stCondLst>
                                        </p:cTn>
                                        <p:tgtEl>
                                          <p:spTgt spid="54"/>
                                        </p:tgtEl>
                                        <p:attrNameLst>
                                          <p:attrName>style.visibility</p:attrName>
                                        </p:attrNameLst>
                                      </p:cBhvr>
                                      <p:to>
                                        <p:strVal val="visible"/>
                                      </p:to>
                                    </p:set>
                                    <p:animEffect transition="in" filter="wipe(down)">
                                      <p:cBhvr>
                                        <p:cTn id="273" dur="500"/>
                                        <p:tgtEl>
                                          <p:spTgt spid="54"/>
                                        </p:tgtEl>
                                      </p:cBhvr>
                                    </p:animEffect>
                                  </p:childTnLst>
                                </p:cTn>
                              </p:par>
                              <p:par>
                                <p:cTn id="274" presetID="22" presetClass="entr" presetSubtype="4" fill="hold" nodeType="withEffect">
                                  <p:stCondLst>
                                    <p:cond delay="0"/>
                                  </p:stCondLst>
                                  <p:childTnLst>
                                    <p:set>
                                      <p:cBhvr>
                                        <p:cTn id="275" dur="1" fill="hold">
                                          <p:stCondLst>
                                            <p:cond delay="0"/>
                                          </p:stCondLst>
                                        </p:cTn>
                                        <p:tgtEl>
                                          <p:spTgt spid="65"/>
                                        </p:tgtEl>
                                        <p:attrNameLst>
                                          <p:attrName>style.visibility</p:attrName>
                                        </p:attrNameLst>
                                      </p:cBhvr>
                                      <p:to>
                                        <p:strVal val="visible"/>
                                      </p:to>
                                    </p:set>
                                    <p:animEffect transition="in" filter="wipe(down)">
                                      <p:cBhvr>
                                        <p:cTn id="276" dur="500"/>
                                        <p:tgtEl>
                                          <p:spTgt spid="65"/>
                                        </p:tgtEl>
                                      </p:cBhvr>
                                    </p:animEffect>
                                  </p:childTnLst>
                                </p:cTn>
                              </p:par>
                              <p:par>
                                <p:cTn id="277" presetID="22" presetClass="entr" presetSubtype="4" fill="hold" grpId="0" nodeType="withEffect">
                                  <p:stCondLst>
                                    <p:cond delay="0"/>
                                  </p:stCondLst>
                                  <p:childTnLst>
                                    <p:set>
                                      <p:cBhvr>
                                        <p:cTn id="278" dur="1" fill="hold">
                                          <p:stCondLst>
                                            <p:cond delay="0"/>
                                          </p:stCondLst>
                                        </p:cTn>
                                        <p:tgtEl>
                                          <p:spTgt spid="66"/>
                                        </p:tgtEl>
                                        <p:attrNameLst>
                                          <p:attrName>style.visibility</p:attrName>
                                        </p:attrNameLst>
                                      </p:cBhvr>
                                      <p:to>
                                        <p:strVal val="visible"/>
                                      </p:to>
                                    </p:set>
                                    <p:animEffect transition="in" filter="wipe(down)">
                                      <p:cBhvr>
                                        <p:cTn id="279" dur="500"/>
                                        <p:tgtEl>
                                          <p:spTgt spid="66"/>
                                        </p:tgtEl>
                                      </p:cBhvr>
                                    </p:animEffect>
                                  </p:childTnLst>
                                </p:cTn>
                              </p:par>
                              <p:par>
                                <p:cTn id="280" presetID="22" presetClass="entr" presetSubtype="4" fill="hold" nodeType="withEffect">
                                  <p:stCondLst>
                                    <p:cond delay="0"/>
                                  </p:stCondLst>
                                  <p:childTnLst>
                                    <p:set>
                                      <p:cBhvr>
                                        <p:cTn id="281" dur="1" fill="hold">
                                          <p:stCondLst>
                                            <p:cond delay="0"/>
                                          </p:stCondLst>
                                        </p:cTn>
                                        <p:tgtEl>
                                          <p:spTgt spid="38"/>
                                        </p:tgtEl>
                                        <p:attrNameLst>
                                          <p:attrName>style.visibility</p:attrName>
                                        </p:attrNameLst>
                                      </p:cBhvr>
                                      <p:to>
                                        <p:strVal val="visible"/>
                                      </p:to>
                                    </p:set>
                                    <p:animEffect transition="in" filter="wipe(down)">
                                      <p:cBhvr>
                                        <p:cTn id="28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6" grpId="0" animBg="1"/>
      <p:bldP spid="18" grpId="0" animBg="1"/>
      <p:bldP spid="19" grpId="0" animBg="1"/>
      <p:bldP spid="20" grpId="0"/>
      <p:bldP spid="21" grpId="0"/>
      <p:bldP spid="23" grpId="0" animBg="1"/>
      <p:bldP spid="24" grpId="0" animBg="1"/>
      <p:bldP spid="28" grpId="0" animBg="1"/>
      <p:bldP spid="29" grpId="0" animBg="1"/>
      <p:bldP spid="31" grpId="0" animBg="1"/>
      <p:bldP spid="32" grpId="0"/>
      <p:bldP spid="33" grpId="0"/>
      <p:bldP spid="34" grpId="0"/>
      <p:bldP spid="36" grpId="0" animBg="1"/>
      <p:bldP spid="37" grpId="0" animBg="1"/>
      <p:bldP spid="40" grpId="0" animBg="1"/>
      <p:bldP spid="41" grpId="0"/>
      <p:bldP spid="42" grpId="0"/>
      <p:bldP spid="45" grpId="0" animBg="1"/>
      <p:bldP spid="46" grpId="0" animBg="1"/>
      <p:bldP spid="48" grpId="0" animBg="1"/>
      <p:bldP spid="49" grpId="0"/>
      <p:bldP spid="52" grpId="0" animBg="1"/>
      <p:bldP spid="53" grpId="0" animBg="1"/>
      <p:bldP spid="55" grpId="0" animBg="1"/>
      <p:bldP spid="56" grpId="0"/>
      <p:bldP spid="57" grpId="0"/>
      <p:bldP spid="58" grpId="0"/>
      <p:bldP spid="59" grpId="0"/>
      <p:bldP spid="60" grpId="0"/>
      <p:bldP spid="63" grpId="0" animBg="1"/>
      <p:bldP spid="66" grpId="0" animBg="1"/>
      <p:bldP spid="69" grpId="0" animBg="1"/>
      <p:bldP spid="70" grpId="0" animBg="1"/>
      <p:bldP spid="72" grpId="0"/>
      <p:bldP spid="73" grpId="0"/>
      <p:bldP spid="74" grpId="0"/>
      <p:bldP spid="80" grpId="0" animBg="1"/>
      <p:bldP spid="81" grpId="0" animBg="1"/>
      <p:bldP spid="9" grpId="0" animBg="1"/>
      <p:bldP spid="9" grpId="1" animBg="1"/>
      <p:bldP spid="10" grpId="0" animBg="1"/>
      <p:bldP spid="10" grpId="1" animBg="1"/>
      <p:bldP spid="11" grpId="0" animBg="1"/>
      <p:bldP spid="11"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Index Contact Testing Entry Points and Process</a:t>
            </a:r>
            <a:endParaRPr lang="en-US" sz="2800" dirty="0"/>
          </a:p>
        </p:txBody>
      </p:sp>
      <p:sp>
        <p:nvSpPr>
          <p:cNvPr id="3" name="Content Placeholder 2"/>
          <p:cNvSpPr>
            <a:spLocks noGrp="1"/>
          </p:cNvSpPr>
          <p:nvPr>
            <p:ph idx="1"/>
          </p:nvPr>
        </p:nvSpPr>
        <p:spPr/>
        <p:txBody>
          <a:bodyPr/>
          <a:lstStyle/>
          <a:p>
            <a:r>
              <a:rPr lang="en-US" sz="2400" dirty="0"/>
              <a:t>Index Contact Testing can be offered through passive and active approach and clients can access services through the following entry points:</a:t>
            </a:r>
          </a:p>
          <a:p>
            <a:pPr lvl="1"/>
            <a:r>
              <a:rPr lang="en-US" sz="2400" b="1" dirty="0"/>
              <a:t>Routine HTS/PMTCT services</a:t>
            </a:r>
          </a:p>
          <a:p>
            <a:pPr lvl="2"/>
            <a:r>
              <a:rPr lang="en-US" sz="2400" dirty="0"/>
              <a:t>aPNS is incorporated in the HTS protocol. All clients seeking HTS should be introduced to aPNS and its benefits in all stages of HTS (Pretest, Testing, Post test, Assessment of other health conditions and referral and linkage).</a:t>
            </a:r>
          </a:p>
          <a:p>
            <a:pPr lvl="1"/>
            <a:r>
              <a:rPr lang="en-US" sz="2400" b="1" dirty="0"/>
              <a:t>Comprehensive Care Clinic (CCC)</a:t>
            </a:r>
          </a:p>
          <a:p>
            <a:pPr lvl="2"/>
            <a:r>
              <a:rPr lang="en-US" sz="2400" dirty="0"/>
              <a:t>At the CCC, HCWs should initiate Index Contact Testing to clients enrolled in CCC particularly those that did not receive counseling on Index Contact Testing during routine HTS. For those that were offered aPNS, it is recommended that they are probed regularly for change of partners as they progress with care and treatment services.</a:t>
            </a:r>
          </a:p>
          <a:p>
            <a:r>
              <a:rPr lang="en-US" sz="2800" dirty="0"/>
              <a:t> </a:t>
            </a:r>
          </a:p>
        </p:txBody>
      </p:sp>
    </p:spTree>
    <p:extLst>
      <p:ext uri="{BB962C8B-B14F-4D97-AF65-F5344CB8AC3E}">
        <p14:creationId xmlns:p14="http://schemas.microsoft.com/office/powerpoint/2010/main" val="1543621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49771072-6D7D-664A-86BF-257B48D485EB}"/>
              </a:ext>
            </a:extLst>
          </p:cNvPr>
          <p:cNvPicPr>
            <a:picLocks noGrp="1" noChangeAspect="1"/>
          </p:cNvPicPr>
          <p:nvPr>
            <p:ph idx="1"/>
          </p:nvPr>
        </p:nvPicPr>
        <p:blipFill>
          <a:blip r:embed="rId2"/>
          <a:stretch>
            <a:fillRect/>
          </a:stretch>
        </p:blipFill>
        <p:spPr>
          <a:xfrm>
            <a:off x="1393371" y="1600200"/>
            <a:ext cx="10075799" cy="4441370"/>
          </a:xfrm>
        </p:spPr>
      </p:pic>
      <p:sp>
        <p:nvSpPr>
          <p:cNvPr id="3" name="Title 2">
            <a:extLst>
              <a:ext uri="{FF2B5EF4-FFF2-40B4-BE49-F238E27FC236}">
                <a16:creationId xmlns:a16="http://schemas.microsoft.com/office/drawing/2014/main" id="{ED3E9920-7D95-F9AB-4B1A-8047334A1555}"/>
              </a:ext>
            </a:extLst>
          </p:cNvPr>
          <p:cNvSpPr>
            <a:spLocks noGrp="1"/>
          </p:cNvSpPr>
          <p:nvPr>
            <p:ph type="title"/>
          </p:nvPr>
        </p:nvSpPr>
        <p:spPr>
          <a:xfrm>
            <a:off x="1102786" y="112714"/>
            <a:ext cx="9750272" cy="1106486"/>
          </a:xfrm>
        </p:spPr>
        <p:txBody>
          <a:bodyPr/>
          <a:lstStyle/>
          <a:p>
            <a:r>
              <a:rPr lang="en-US" dirty="0"/>
              <a:t>In</a:t>
            </a:r>
            <a:br>
              <a:rPr lang="en-US" dirty="0"/>
            </a:br>
            <a:r>
              <a:rPr kumimoji="0" lang="en-US" sz="3600" b="1" i="0" u="none" strike="noStrike" kern="1200" cap="none" spc="0" normalizeH="0" baseline="0" noProof="0" dirty="0">
                <a:ln>
                  <a:noFill/>
                </a:ln>
                <a:solidFill>
                  <a:prstClr val="black"/>
                </a:solidFill>
                <a:effectLst/>
                <a:uLnTx/>
                <a:uFillTx/>
                <a:latin typeface="Adobe Jenson Pro"/>
                <a:ea typeface="+mj-ea"/>
                <a:cs typeface="+mj-cs"/>
              </a:rPr>
              <a:t>Index Contacts Testing Conceptual Framework</a:t>
            </a:r>
            <a:r>
              <a:rPr lang="en-US" dirty="0"/>
              <a:t>g Index Contacts Testing </a:t>
            </a:r>
            <a:endParaRPr lang="en-KE" dirty="0"/>
          </a:p>
        </p:txBody>
      </p:sp>
    </p:spTree>
    <p:extLst>
      <p:ext uri="{BB962C8B-B14F-4D97-AF65-F5344CB8AC3E}">
        <p14:creationId xmlns:p14="http://schemas.microsoft.com/office/powerpoint/2010/main" val="38258532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olicies and Guidance</a:t>
            </a:r>
          </a:p>
        </p:txBody>
      </p:sp>
      <p:sp>
        <p:nvSpPr>
          <p:cNvPr id="3" name="Content Placeholder 2"/>
          <p:cNvSpPr>
            <a:spLocks noGrp="1"/>
          </p:cNvSpPr>
          <p:nvPr>
            <p:ph idx="1"/>
          </p:nvPr>
        </p:nvSpPr>
        <p:spPr/>
        <p:txBody>
          <a:bodyPr/>
          <a:lstStyle/>
          <a:p>
            <a:r>
              <a:rPr lang="en-US" sz="2800" i="1" dirty="0"/>
              <a:t>These guidelines are anchored in international and national policy and legal framework</a:t>
            </a:r>
            <a:endParaRPr lang="en-US" sz="2800" dirty="0"/>
          </a:p>
          <a:p>
            <a:pPr lvl="1"/>
            <a:r>
              <a:rPr lang="en-US" sz="2800" dirty="0"/>
              <a:t>The Constitution of Kenya </a:t>
            </a:r>
          </a:p>
          <a:p>
            <a:pPr lvl="1"/>
            <a:r>
              <a:rPr lang="en-US" sz="2800" dirty="0"/>
              <a:t>Health Act 2017 </a:t>
            </a:r>
          </a:p>
          <a:p>
            <a:pPr lvl="1"/>
            <a:r>
              <a:rPr lang="en-US" sz="2800" dirty="0"/>
              <a:t>Public Health Act </a:t>
            </a:r>
          </a:p>
          <a:p>
            <a:pPr lvl="1"/>
            <a:r>
              <a:rPr lang="en-US" sz="2800" dirty="0"/>
              <a:t>HIV Prevention and Control Act 2006 </a:t>
            </a:r>
          </a:p>
          <a:p>
            <a:pPr lvl="1"/>
            <a:r>
              <a:rPr lang="en-US" sz="2800" dirty="0"/>
              <a:t>World Health Organization (WHO) HIVST and Partner Services Guidelines (2016)</a:t>
            </a:r>
          </a:p>
          <a:p>
            <a:pPr lvl="1"/>
            <a:r>
              <a:rPr lang="en-US" sz="2800" dirty="0"/>
              <a:t>Kenya HIV Testing Services Operational Manual 2022</a:t>
            </a:r>
          </a:p>
          <a:p>
            <a:pPr lvl="1"/>
            <a:endParaRPr lang="en-US" sz="2000" dirty="0"/>
          </a:p>
        </p:txBody>
      </p:sp>
    </p:spTree>
    <p:extLst>
      <p:ext uri="{BB962C8B-B14F-4D97-AF65-F5344CB8AC3E}">
        <p14:creationId xmlns:p14="http://schemas.microsoft.com/office/powerpoint/2010/main" val="42928094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5000" dirty="0"/>
              <a:t>Thank you</a:t>
            </a:r>
          </a:p>
        </p:txBody>
      </p:sp>
      <p:pic>
        <p:nvPicPr>
          <p:cNvPr id="4" name="Content Placeholder 1"/>
          <p:cNvPicPr>
            <a:picLocks noGrp="1" noChangeAspect="1"/>
          </p:cNvPicPr>
          <p:nvPr>
            <p:ph idx="1"/>
          </p:nvPr>
        </p:nvPicPr>
        <p:blipFill rotWithShape="1">
          <a:blip r:embed="rId2" cstate="print"/>
          <a:srcRect l="34854" t="11784" r="32962" b="7402"/>
          <a:stretch/>
        </p:blipFill>
        <p:spPr bwMode="auto">
          <a:xfrm>
            <a:off x="2344880" y="1690690"/>
            <a:ext cx="2628292" cy="4060825"/>
          </a:xfrm>
          <a:prstGeom prst="rect">
            <a:avLst/>
          </a:prstGeom>
          <a:noFill/>
          <a:ln w="9525">
            <a:noFill/>
            <a:miter lim="800000"/>
            <a:headEnd/>
            <a:tailEnd/>
          </a:ln>
        </p:spPr>
      </p:pic>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3610" y="1690690"/>
            <a:ext cx="2635178" cy="4144963"/>
          </a:xfrm>
          <a:prstGeom prst="rect">
            <a:avLst/>
          </a:prstGeom>
          <a:noFill/>
          <a:ln w="9525">
            <a:noFill/>
            <a:miter lim="800000"/>
            <a:headEnd/>
            <a:tailEnd/>
          </a:ln>
        </p:spPr>
      </p:pic>
      <p:pic>
        <p:nvPicPr>
          <p:cNvPr id="7" name="Picture 6">
            <a:extLst>
              <a:ext uri="{FF2B5EF4-FFF2-40B4-BE49-F238E27FC236}">
                <a16:creationId xmlns:a16="http://schemas.microsoft.com/office/drawing/2014/main" id="{8409822C-35F6-0986-CA51-E3C3DC321885}"/>
              </a:ext>
            </a:extLst>
          </p:cNvPr>
          <p:cNvPicPr>
            <a:picLocks noChangeAspect="1"/>
          </p:cNvPicPr>
          <p:nvPr/>
        </p:nvPicPr>
        <p:blipFill>
          <a:blip r:embed="rId4"/>
          <a:stretch>
            <a:fillRect/>
          </a:stretch>
        </p:blipFill>
        <p:spPr>
          <a:xfrm>
            <a:off x="8188778" y="1690690"/>
            <a:ext cx="2635179" cy="4060825"/>
          </a:xfrm>
          <a:prstGeom prst="rect">
            <a:avLst/>
          </a:prstGeom>
        </p:spPr>
      </p:pic>
    </p:spTree>
    <p:extLst>
      <p:ext uri="{BB962C8B-B14F-4D97-AF65-F5344CB8AC3E}">
        <p14:creationId xmlns:p14="http://schemas.microsoft.com/office/powerpoint/2010/main" val="1451261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Times New Roman" panose="02020603050405020304" pitchFamily="18" charset="0"/>
                <a:ea typeface="Calibri" panose="020F0502020204030204" pitchFamily="34" charset="0"/>
                <a:cs typeface="Times New Roman" panose="02020603050405020304" pitchFamily="18" charset="0"/>
              </a:rPr>
              <a:t>Passive HIV Partner Notification Services</a:t>
            </a:r>
            <a:endParaRPr lang="en-US" dirty="0"/>
          </a:p>
        </p:txBody>
      </p:sp>
      <p:sp>
        <p:nvSpPr>
          <p:cNvPr id="3" name="Content Placeholder 2"/>
          <p:cNvSpPr>
            <a:spLocks noGrp="1"/>
          </p:cNvSpPr>
          <p:nvPr>
            <p:ph idx="1"/>
          </p:nvPr>
        </p:nvSpPr>
        <p:spPr/>
        <p:txBody>
          <a:bodyPr/>
          <a:lstStyle/>
          <a:p>
            <a:pPr marL="0" algn="just">
              <a:lnSpc>
                <a:spcPct val="107000"/>
              </a:lnSpc>
              <a:spcBef>
                <a:spcPts val="0"/>
              </a:spcBef>
              <a:spcAft>
                <a:spcPts val="0"/>
              </a:spcAft>
            </a:pPr>
            <a:r>
              <a:rPr lang="en-US" sz="24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Provider delivers counselling and encourages HIV-positive clients to disclose their HIV status to their partner(s) and notify them of their possible HIV exposure, either in-person or by telephone call, text message, e-mail, etc.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0" algn="just">
              <a:lnSpc>
                <a:spcPct val="107000"/>
              </a:lnSpc>
              <a:spcBef>
                <a:spcPts val="0"/>
              </a:spcBef>
              <a:spcAft>
                <a:spcPts val="0"/>
              </a:spcAft>
            </a:pPr>
            <a:r>
              <a:rPr lang="en-US" sz="24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Provider gives HIV-positive clients a letter or card inviting their partner(s) to attend the health facility. When the partners present themselves at the health facility, they are offered HTS.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0" algn="just">
              <a:lnSpc>
                <a:spcPct val="107000"/>
              </a:lnSpc>
              <a:spcBef>
                <a:spcPts val="0"/>
              </a:spcBef>
              <a:spcAft>
                <a:spcPts val="0"/>
              </a:spcAft>
            </a:pPr>
            <a:r>
              <a:rPr lang="en-US" sz="24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HIV-positive clients may use anonymous messaging services such as a phone call, e-mail or Internet to notify their partner(s) on their own.</a:t>
            </a:r>
            <a:endParaRPr lang="en-US" sz="20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407531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latin typeface="Times New Roman" panose="02020603050405020304" pitchFamily="18" charset="0"/>
                <a:ea typeface="Calibri" panose="020F0502020204030204" pitchFamily="34" charset="0"/>
                <a:cs typeface="Times New Roman" panose="02020603050405020304" pitchFamily="18" charset="0"/>
              </a:rPr>
              <a:t>Index contact testing services</a:t>
            </a:r>
            <a:endParaRPr lang="en-US" dirty="0"/>
          </a:p>
        </p:txBody>
      </p:sp>
      <p:sp>
        <p:nvSpPr>
          <p:cNvPr id="3" name="Content Placeholder 2"/>
          <p:cNvSpPr>
            <a:spLocks noGrp="1"/>
          </p:cNvSpPr>
          <p:nvPr>
            <p:ph idx="1"/>
          </p:nvPr>
        </p:nvSpPr>
        <p:spPr/>
        <p:txBody>
          <a:bodyPr/>
          <a:lstStyle/>
          <a:p>
            <a:pPr marL="0" algn="just">
              <a:lnSpc>
                <a:spcPct val="107000"/>
              </a:lnSpc>
              <a:spcBef>
                <a:spcPts val="0"/>
              </a:spcBef>
              <a:spcAft>
                <a:spcPts val="0"/>
              </a:spcAft>
            </a:pPr>
            <a:r>
              <a:rPr lang="en-US" sz="24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Provider delivers counselling and offers HIV-positive clients assistance with disclosure and notifying their partner(s) through one of the 3 referral methods.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0" algn="just">
              <a:lnSpc>
                <a:spcPct val="107000"/>
              </a:lnSpc>
              <a:spcBef>
                <a:spcPts val="0"/>
              </a:spcBef>
              <a:spcAft>
                <a:spcPts val="0"/>
              </a:spcAft>
            </a:pPr>
            <a:r>
              <a:rPr lang="en-US" sz="24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Provider contacts partner(s) either by phone, Internet, e-mail or an in-person home visit to inform them of their potential exposure to HIV infection and offers those HIV testing services (HTS).</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0" algn="just">
              <a:lnSpc>
                <a:spcPct val="107000"/>
              </a:lnSpc>
              <a:spcBef>
                <a:spcPts val="0"/>
              </a:spcBef>
              <a:spcAft>
                <a:spcPts val="0"/>
              </a:spcAft>
            </a:pPr>
            <a:r>
              <a:rPr lang="en-US" sz="24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Provider offers comprehensive HTS to sexual partners to index clients. If the sexual partner is tested at home, provide testing and referral services to the household of the HIV-positive individual.</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Tree>
    <p:extLst>
      <p:ext uri="{BB962C8B-B14F-4D97-AF65-F5344CB8AC3E}">
        <p14:creationId xmlns:p14="http://schemas.microsoft.com/office/powerpoint/2010/main" val="4053300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US" sz="3600" dirty="0"/>
              <a:t>Benefits of Index contact testing</a:t>
            </a:r>
            <a:endParaRPr lang="en-US" dirty="0"/>
          </a:p>
        </p:txBody>
      </p:sp>
      <p:sp>
        <p:nvSpPr>
          <p:cNvPr id="3" name="Content Placeholder 2"/>
          <p:cNvSpPr>
            <a:spLocks noGrp="1"/>
          </p:cNvSpPr>
          <p:nvPr>
            <p:ph idx="1"/>
          </p:nvPr>
        </p:nvSpPr>
        <p:spPr/>
        <p:txBody>
          <a:bodyPr/>
          <a:lstStyle/>
          <a:p>
            <a:r>
              <a:rPr lang="en-US" sz="2800" b="1" dirty="0"/>
              <a:t>Individual (index or sex partner)</a:t>
            </a:r>
          </a:p>
          <a:p>
            <a:pPr lvl="1"/>
            <a:r>
              <a:rPr lang="en-US" sz="2400" dirty="0"/>
              <a:t>Timely access to ART therefore increasing quality of life</a:t>
            </a:r>
          </a:p>
          <a:p>
            <a:pPr lvl="1"/>
            <a:r>
              <a:rPr lang="en-US" sz="2400" dirty="0"/>
              <a:t>Improves adherence and retention to treatment</a:t>
            </a:r>
          </a:p>
          <a:p>
            <a:pPr lvl="1"/>
            <a:r>
              <a:rPr lang="en-US" sz="2400" dirty="0"/>
              <a:t>Increased access to prevention options including counseling, condoms, VMMC, PEP and PrEP</a:t>
            </a:r>
          </a:p>
          <a:p>
            <a:pPr lvl="1"/>
            <a:r>
              <a:rPr lang="en-US" sz="2400" dirty="0"/>
              <a:t>Enhanced self-worth; </a:t>
            </a:r>
            <a:r>
              <a:rPr lang="en-US" sz="2400" b="1" dirty="0"/>
              <a:t>client empowerment)</a:t>
            </a:r>
            <a:endParaRPr lang="en-US" sz="2400" dirty="0"/>
          </a:p>
          <a:p>
            <a:pPr lvl="1"/>
            <a:r>
              <a:rPr lang="en-US" sz="2400" dirty="0"/>
              <a:t>Enhanced support for those not ready to notify sex partners</a:t>
            </a:r>
          </a:p>
        </p:txBody>
      </p:sp>
    </p:spTree>
    <p:extLst>
      <p:ext uri="{BB962C8B-B14F-4D97-AF65-F5344CB8AC3E}">
        <p14:creationId xmlns:p14="http://schemas.microsoft.com/office/powerpoint/2010/main" val="22734560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Benefits of Index contact testing</a:t>
            </a:r>
            <a:endParaRPr lang="en-US" dirty="0"/>
          </a:p>
        </p:txBody>
      </p:sp>
      <p:sp>
        <p:nvSpPr>
          <p:cNvPr id="3" name="Content Placeholder 2"/>
          <p:cNvSpPr>
            <a:spLocks noGrp="1"/>
          </p:cNvSpPr>
          <p:nvPr>
            <p:ph idx="1"/>
          </p:nvPr>
        </p:nvSpPr>
        <p:spPr/>
        <p:txBody>
          <a:bodyPr/>
          <a:lstStyle/>
          <a:p>
            <a:r>
              <a:rPr lang="en-US" sz="2800" b="1" dirty="0"/>
              <a:t>Family</a:t>
            </a:r>
          </a:p>
          <a:p>
            <a:pPr lvl="1"/>
            <a:r>
              <a:rPr lang="en-US" sz="2400" dirty="0"/>
              <a:t>Mutual Knowledge of HIV status increases trust</a:t>
            </a:r>
          </a:p>
          <a:p>
            <a:pPr lvl="1"/>
            <a:r>
              <a:rPr lang="en-US" sz="2400" dirty="0"/>
              <a:t>Mutual support to access HIV prevention, treatment and care services</a:t>
            </a:r>
          </a:p>
          <a:p>
            <a:pPr lvl="1"/>
            <a:r>
              <a:rPr lang="en-US" sz="2400" dirty="0"/>
              <a:t>Improves support for the prevention of mother-to-child transmission </a:t>
            </a:r>
          </a:p>
          <a:p>
            <a:pPr lvl="1"/>
            <a:r>
              <a:rPr lang="en-US" sz="2400" dirty="0"/>
              <a:t>Prioritization of effective HIV prevention for </a:t>
            </a:r>
            <a:r>
              <a:rPr lang="en-US" sz="2400" dirty="0" err="1"/>
              <a:t>sero</a:t>
            </a:r>
            <a:r>
              <a:rPr lang="en-US" sz="2400" dirty="0"/>
              <a:t>-discordant couples (Condoms, Antiretroviral therapy, Pre-exposure prophylaxis) for HIV-negative partners</a:t>
            </a:r>
          </a:p>
        </p:txBody>
      </p:sp>
    </p:spTree>
    <p:extLst>
      <p:ext uri="{BB962C8B-B14F-4D97-AF65-F5344CB8AC3E}">
        <p14:creationId xmlns:p14="http://schemas.microsoft.com/office/powerpoint/2010/main" val="24989680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1"/>
            <a:r>
              <a:rPr lang="en-US" sz="2800" dirty="0">
                <a:latin typeface="Arial Black" panose="020B0A04020102020204" pitchFamily="34" charset="0"/>
              </a:rPr>
              <a:t>Introduction to Index Contact Testing</a:t>
            </a:r>
            <a:endParaRPr lang="en-US" sz="2800" dirty="0"/>
          </a:p>
        </p:txBody>
      </p:sp>
      <p:sp>
        <p:nvSpPr>
          <p:cNvPr id="5" name="Content Placeholder 4"/>
          <p:cNvSpPr>
            <a:spLocks noGrp="1"/>
          </p:cNvSpPr>
          <p:nvPr>
            <p:ph idx="1"/>
          </p:nvPr>
        </p:nvSpPr>
        <p:spPr/>
        <p:txBody>
          <a:bodyPr/>
          <a:lstStyle/>
          <a:p>
            <a:r>
              <a:rPr lang="en-US" sz="2800" b="1" dirty="0">
                <a:latin typeface="Calibri" panose="020F0502020204030204" pitchFamily="34" charset="0"/>
                <a:cs typeface="Calibri" panose="020F0502020204030204" pitchFamily="34" charset="0"/>
              </a:rPr>
              <a:t>Goal of Index Contact Testing </a:t>
            </a:r>
            <a:endParaRPr lang="en-US" sz="2800" dirty="0">
              <a:latin typeface="Calibri" panose="020F0502020204030204" pitchFamily="34" charset="0"/>
              <a:cs typeface="Calibri" panose="020F0502020204030204" pitchFamily="34" charset="0"/>
            </a:endParaRPr>
          </a:p>
          <a:p>
            <a:r>
              <a:rPr lang="en-US" sz="2800" dirty="0">
                <a:latin typeface="Calibri" panose="020F0502020204030204" pitchFamily="34" charset="0"/>
                <a:cs typeface="Calibri" panose="020F0502020204030204" pitchFamily="34" charset="0"/>
              </a:rPr>
              <a:t>The objective of partner notification is to break the chain of HIV transmission by offering HTS to persons who have been exposed to HIV and linking them to HIV treatment, or HIV prevention services (e.g. VMMC, PrEP, condoms), if negative.</a:t>
            </a:r>
            <a:endParaRPr lang="en-US" sz="2800" b="1" dirty="0">
              <a:latin typeface="Calibri" panose="020F0502020204030204" pitchFamily="34" charset="0"/>
              <a:cs typeface="Calibri" panose="020F0502020204030204" pitchFamily="34" charset="0"/>
            </a:endParaRPr>
          </a:p>
          <a:p>
            <a:pPr marL="0" indent="0">
              <a:buNone/>
            </a:pPr>
            <a:r>
              <a:rPr lang="en-US" sz="2800" b="1" dirty="0">
                <a:latin typeface="Calibri" panose="020F0502020204030204" pitchFamily="34" charset="0"/>
                <a:cs typeface="Calibri" panose="020F0502020204030204" pitchFamily="34" charset="0"/>
              </a:rPr>
              <a:t>Target audience for Index Contact Testing guidance</a:t>
            </a:r>
          </a:p>
          <a:p>
            <a:r>
              <a:rPr lang="en-US" sz="2800" dirty="0">
                <a:latin typeface="Calibri" panose="020F0502020204030204" pitchFamily="34" charset="0"/>
                <a:cs typeface="Calibri" panose="020F0502020204030204" pitchFamily="34" charset="0"/>
              </a:rPr>
              <a:t>This Index Contact Testing guidance targets all health care workers particularly those providing HTS and PMTCT services at the facility and community levels. </a:t>
            </a:r>
          </a:p>
          <a:p>
            <a:r>
              <a:rPr lang="en-US" sz="2800" dirty="0">
                <a:latin typeface="Calibri" panose="020F0502020204030204" pitchFamily="34" charset="0"/>
                <a:cs typeface="Calibri" panose="020F0502020204030204" pitchFamily="34" charset="0"/>
              </a:rPr>
              <a:t>Also targeted are HIV prevention implementing partners, facility in charges and county health management teams.  </a:t>
            </a:r>
          </a:p>
          <a:p>
            <a:endParaRPr lang="en-US" sz="2800" dirty="0"/>
          </a:p>
          <a:p>
            <a:pPr marL="0" indent="0">
              <a:buNone/>
            </a:pPr>
            <a:endParaRPr lang="en-US" sz="2800" dirty="0"/>
          </a:p>
          <a:p>
            <a:endParaRPr lang="en-US" sz="2400" dirty="0"/>
          </a:p>
        </p:txBody>
      </p:sp>
    </p:spTree>
    <p:extLst>
      <p:ext uri="{BB962C8B-B14F-4D97-AF65-F5344CB8AC3E}">
        <p14:creationId xmlns:p14="http://schemas.microsoft.com/office/powerpoint/2010/main" val="2289132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Key considerations in Index contact testing include</a:t>
            </a:r>
            <a:endParaRPr lang="en-US" sz="2800" dirty="0"/>
          </a:p>
        </p:txBody>
      </p:sp>
      <p:sp>
        <p:nvSpPr>
          <p:cNvPr id="3" name="Content Placeholder 2"/>
          <p:cNvSpPr>
            <a:spLocks noGrp="1"/>
          </p:cNvSpPr>
          <p:nvPr>
            <p:ph idx="1"/>
          </p:nvPr>
        </p:nvSpPr>
        <p:spPr/>
        <p:txBody>
          <a:bodyPr/>
          <a:lstStyle/>
          <a:p>
            <a:pPr lvl="0"/>
            <a:r>
              <a:rPr lang="en-US" sz="2800" dirty="0"/>
              <a:t>Potential for Intimate Partner Violence (IPV) – Index contact testing provider should screen for IPV </a:t>
            </a:r>
          </a:p>
          <a:p>
            <a:pPr lvl="0"/>
            <a:r>
              <a:rPr lang="en-US" sz="2800" dirty="0"/>
              <a:t>Risk of stigma with unintentional disclosure of HIV status</a:t>
            </a:r>
          </a:p>
          <a:p>
            <a:pPr lvl="0"/>
            <a:r>
              <a:rPr lang="en-US" sz="2800" dirty="0"/>
              <a:t>Laws or policies that stigmatize, criminalize or discriminate against key populations or people living with HIV</a:t>
            </a:r>
          </a:p>
          <a:p>
            <a:pPr lvl="0"/>
            <a:r>
              <a:rPr lang="en-US" sz="2800" dirty="0"/>
              <a:t>Difficulty in identification of partners - some people and groups such as key populations may be reluctant to name partners and/or may not know their partners. </a:t>
            </a:r>
          </a:p>
        </p:txBody>
      </p:sp>
    </p:spTree>
    <p:extLst>
      <p:ext uri="{BB962C8B-B14F-4D97-AF65-F5344CB8AC3E}">
        <p14:creationId xmlns:p14="http://schemas.microsoft.com/office/powerpoint/2010/main" val="1418958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Key considerations in Index contact testing include Cont…</a:t>
            </a:r>
            <a:endParaRPr lang="en-US" sz="2800" dirty="0"/>
          </a:p>
        </p:txBody>
      </p:sp>
      <p:sp>
        <p:nvSpPr>
          <p:cNvPr id="3" name="Content Placeholder 2"/>
          <p:cNvSpPr>
            <a:spLocks noGrp="1"/>
          </p:cNvSpPr>
          <p:nvPr>
            <p:ph idx="1"/>
          </p:nvPr>
        </p:nvSpPr>
        <p:spPr/>
        <p:txBody>
          <a:bodyPr/>
          <a:lstStyle/>
          <a:p>
            <a:pPr lvl="0"/>
            <a:r>
              <a:rPr lang="en-US" sz="2800" dirty="0"/>
              <a:t>This depends on relationship dynamics and the Index contact testing provider should explore innovative approaches and provide further counselling to the index client.</a:t>
            </a:r>
          </a:p>
          <a:p>
            <a:pPr lvl="0"/>
            <a:r>
              <a:rPr lang="en-US" sz="2800" dirty="0"/>
              <a:t>Locating and notifying partners - locating partners may be difficult, particularly for non-primary/casual partners and for mobile, vulnerable or key populations.  </a:t>
            </a:r>
          </a:p>
          <a:p>
            <a:pPr lvl="0"/>
            <a:r>
              <a:rPr lang="en-US" sz="2800" dirty="0"/>
              <a:t>Index contact testing providers can seek escort of CHWs, peer counselors, mentor mothers to help locate homesteads or preferred test areas in the community. Consider telephone referrals for distance partners</a:t>
            </a:r>
          </a:p>
        </p:txBody>
      </p:sp>
    </p:spTree>
    <p:extLst>
      <p:ext uri="{BB962C8B-B14F-4D97-AF65-F5344CB8AC3E}">
        <p14:creationId xmlns:p14="http://schemas.microsoft.com/office/powerpoint/2010/main" val="25403733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US" sz="4000" dirty="0"/>
              <a:t>Ethical Issues in Index contact testing </a:t>
            </a:r>
          </a:p>
        </p:txBody>
      </p:sp>
      <p:sp>
        <p:nvSpPr>
          <p:cNvPr id="3" name="Content Placeholder 2"/>
          <p:cNvSpPr>
            <a:spLocks noGrp="1"/>
          </p:cNvSpPr>
          <p:nvPr>
            <p:ph idx="1"/>
          </p:nvPr>
        </p:nvSpPr>
        <p:spPr/>
        <p:txBody>
          <a:bodyPr/>
          <a:lstStyle/>
          <a:p>
            <a:r>
              <a:rPr lang="en-US" sz="2800" dirty="0"/>
              <a:t>The ethical concerns around Index contact testing revolve around responsibilities of patients who test HIV positive, around the responsibilities of the health care providers in the context of knowledge that a client or patient, whom they know, has tested HIV, and the responsibility of those in the know about a known HIV status to those partners who don’t. </a:t>
            </a:r>
          </a:p>
          <a:p>
            <a:r>
              <a:rPr lang="en-US" sz="2800" dirty="0"/>
              <a:t>Index contact testing is a voluntary and anonymous public intervention to increase knowledge of HIV status by individuals who may have been exposed through sexual contact, needle sharing or any other high risk activity.</a:t>
            </a:r>
          </a:p>
        </p:txBody>
      </p:sp>
    </p:spTree>
    <p:extLst>
      <p:ext uri="{BB962C8B-B14F-4D97-AF65-F5344CB8AC3E}">
        <p14:creationId xmlns:p14="http://schemas.microsoft.com/office/powerpoint/2010/main" val="3398295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Social Network Strategy  Review</a:t>
            </a:r>
          </a:p>
        </p:txBody>
      </p:sp>
    </p:spTree>
    <p:extLst>
      <p:ext uri="{BB962C8B-B14F-4D97-AF65-F5344CB8AC3E}">
        <p14:creationId xmlns:p14="http://schemas.microsoft.com/office/powerpoint/2010/main" val="36680435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404" y="365760"/>
            <a:ext cx="9446666" cy="544353"/>
          </a:xfrm>
        </p:spPr>
        <p:txBody>
          <a:bodyPr>
            <a:normAutofit/>
          </a:bodyPr>
          <a:lstStyle/>
          <a:p>
            <a:r>
              <a:rPr lang="en-US" sz="2800" dirty="0">
                <a:solidFill>
                  <a:srgbClr val="048DB8"/>
                </a:solidFill>
              </a:rPr>
              <a:t>What is social network strategy (SNS) for HTS?</a:t>
            </a:r>
          </a:p>
        </p:txBody>
      </p:sp>
      <p:graphicFrame>
        <p:nvGraphicFramePr>
          <p:cNvPr id="5" name="Diagram 4"/>
          <p:cNvGraphicFramePr/>
          <p:nvPr>
            <p:extLst>
              <p:ext uri="{D42A27DB-BD31-4B8C-83A1-F6EECF244321}">
                <p14:modId xmlns:p14="http://schemas.microsoft.com/office/powerpoint/2010/main" val="2035425033"/>
              </p:ext>
            </p:extLst>
          </p:nvPr>
        </p:nvGraphicFramePr>
        <p:xfrm>
          <a:off x="1203404" y="910113"/>
          <a:ext cx="9126330" cy="49124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57200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1671" y="0"/>
            <a:ext cx="10255265" cy="925158"/>
          </a:xfrm>
          <a:ln>
            <a:solidFill>
              <a:schemeClr val="accent1"/>
            </a:solidFill>
          </a:ln>
        </p:spPr>
        <p:txBody>
          <a:bodyPr/>
          <a:lstStyle/>
          <a:p>
            <a:pPr algn="ctr"/>
            <a:r>
              <a:rPr lang="en-US" sz="2800" dirty="0">
                <a:solidFill>
                  <a:srgbClr val="048DB8"/>
                </a:solidFill>
              </a:rPr>
              <a:t> Social Network Strategy</a:t>
            </a:r>
            <a:endParaRPr lang="en-US" sz="2800" dirty="0"/>
          </a:p>
        </p:txBody>
      </p:sp>
      <p:graphicFrame>
        <p:nvGraphicFramePr>
          <p:cNvPr id="4" name="Diagram 3"/>
          <p:cNvGraphicFramePr/>
          <p:nvPr>
            <p:extLst>
              <p:ext uri="{D42A27DB-BD31-4B8C-83A1-F6EECF244321}">
                <p14:modId xmlns:p14="http://schemas.microsoft.com/office/powerpoint/2010/main" val="3266955839"/>
              </p:ext>
            </p:extLst>
          </p:nvPr>
        </p:nvGraphicFramePr>
        <p:xfrm>
          <a:off x="991583" y="1021975"/>
          <a:ext cx="9670592" cy="53062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136244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8224" y="365760"/>
            <a:ext cx="10376288" cy="763793"/>
          </a:xfrm>
        </p:spPr>
        <p:txBody>
          <a:bodyPr/>
          <a:lstStyle/>
          <a:p>
            <a:pPr algn="ctr"/>
            <a:r>
              <a:rPr lang="en-US" sz="2800" dirty="0"/>
              <a:t>Recruitment Through Coupons/Vouchers</a:t>
            </a:r>
          </a:p>
        </p:txBody>
      </p:sp>
      <p:graphicFrame>
        <p:nvGraphicFramePr>
          <p:cNvPr id="5" name="Diagram 4"/>
          <p:cNvGraphicFramePr/>
          <p:nvPr>
            <p:extLst>
              <p:ext uri="{D42A27DB-BD31-4B8C-83A1-F6EECF244321}">
                <p14:modId xmlns:p14="http://schemas.microsoft.com/office/powerpoint/2010/main" val="84961101"/>
              </p:ext>
            </p:extLst>
          </p:nvPr>
        </p:nvGraphicFramePr>
        <p:xfrm>
          <a:off x="212651" y="1129553"/>
          <a:ext cx="11298031" cy="47871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2651" y="2883085"/>
            <a:ext cx="1734827" cy="1306144"/>
          </a:xfrm>
          <a:prstGeom prst="rect">
            <a:avLst/>
          </a:prstGeom>
        </p:spPr>
      </p:pic>
      <p:sp>
        <p:nvSpPr>
          <p:cNvPr id="7" name="Right Arrow 6"/>
          <p:cNvSpPr/>
          <p:nvPr/>
        </p:nvSpPr>
        <p:spPr>
          <a:xfrm>
            <a:off x="2041451" y="3423684"/>
            <a:ext cx="382772" cy="4690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887485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ur Phases of SNS </a:t>
            </a:r>
          </a:p>
        </p:txBody>
      </p:sp>
    </p:spTree>
    <p:extLst>
      <p:ext uri="{BB962C8B-B14F-4D97-AF65-F5344CB8AC3E}">
        <p14:creationId xmlns:p14="http://schemas.microsoft.com/office/powerpoint/2010/main" val="4946128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4518" y="420575"/>
            <a:ext cx="8836869" cy="760675"/>
          </a:xfrm>
        </p:spPr>
        <p:txBody>
          <a:bodyPr>
            <a:normAutofit/>
          </a:bodyPr>
          <a:lstStyle/>
          <a:p>
            <a:pPr algn="ctr"/>
            <a:r>
              <a:rPr lang="en-US" dirty="0">
                <a:solidFill>
                  <a:srgbClr val="048DB8"/>
                </a:solidFill>
              </a:rPr>
              <a:t>SNS Implementation – Four Phases</a:t>
            </a:r>
          </a:p>
        </p:txBody>
      </p:sp>
      <p:sp>
        <p:nvSpPr>
          <p:cNvPr id="5" name="U-Turn Arrow 4"/>
          <p:cNvSpPr/>
          <p:nvPr/>
        </p:nvSpPr>
        <p:spPr>
          <a:xfrm rot="10800000">
            <a:off x="4147928" y="4850294"/>
            <a:ext cx="5139506" cy="813007"/>
          </a:xfrm>
          <a:prstGeom prst="uturnArrow">
            <a:avLst>
              <a:gd name="adj1" fmla="val 36410"/>
              <a:gd name="adj2" fmla="val 25000"/>
              <a:gd name="adj3" fmla="val 38108"/>
              <a:gd name="adj4" fmla="val 43750"/>
              <a:gd name="adj5" fmla="val 100000"/>
            </a:avLst>
          </a:prstGeom>
          <a:solidFill>
            <a:srgbClr val="42B0D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aphicFrame>
        <p:nvGraphicFramePr>
          <p:cNvPr id="6" name="Content Placeholder 3">
            <a:extLst>
              <a:ext uri="{FF2B5EF4-FFF2-40B4-BE49-F238E27FC236}">
                <a16:creationId xmlns:a16="http://schemas.microsoft.com/office/drawing/2014/main" id="{CAA0664E-88D5-40F3-9C57-E86D731C5C30}"/>
              </a:ext>
            </a:extLst>
          </p:cNvPr>
          <p:cNvGraphicFramePr>
            <a:graphicFrameLocks/>
          </p:cNvGraphicFramePr>
          <p:nvPr/>
        </p:nvGraphicFramePr>
        <p:xfrm>
          <a:off x="362668" y="1235661"/>
          <a:ext cx="10220568" cy="40211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87857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692024" y="776577"/>
            <a:ext cx="9692640" cy="826936"/>
          </a:xfrm>
        </p:spPr>
        <p:txBody>
          <a:bodyPr>
            <a:normAutofit/>
          </a:bodyPr>
          <a:lstStyle/>
          <a:p>
            <a:r>
              <a:rPr lang="en-US" sz="4800" dirty="0">
                <a:solidFill>
                  <a:srgbClr val="048DB8"/>
                </a:solidFill>
              </a:rPr>
              <a:t>Seeds should be:</a:t>
            </a:r>
            <a:endParaRPr lang="en-US" dirty="0">
              <a:solidFill>
                <a:srgbClr val="048DB8"/>
              </a:solidFill>
            </a:endParaRPr>
          </a:p>
        </p:txBody>
      </p:sp>
      <p:graphicFrame>
        <p:nvGraphicFramePr>
          <p:cNvPr id="7" name="Diagram 6"/>
          <p:cNvGraphicFramePr/>
          <p:nvPr>
            <p:extLst>
              <p:ext uri="{D42A27DB-BD31-4B8C-83A1-F6EECF244321}">
                <p14:modId xmlns:p14="http://schemas.microsoft.com/office/powerpoint/2010/main" val="4038537883"/>
              </p:ext>
            </p:extLst>
          </p:nvPr>
        </p:nvGraphicFramePr>
        <p:xfrm>
          <a:off x="692024" y="1519519"/>
          <a:ext cx="9594976" cy="50157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ounded Rectangle 7"/>
          <p:cNvSpPr/>
          <p:nvPr/>
        </p:nvSpPr>
        <p:spPr>
          <a:xfrm>
            <a:off x="186117" y="154135"/>
            <a:ext cx="10198547" cy="722165"/>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3400" dirty="0"/>
              <a:t>Phase 1: </a:t>
            </a:r>
            <a:r>
              <a:rPr lang="en-US" sz="3600" dirty="0"/>
              <a:t>Initial Recruiter Identification (Seeds) </a:t>
            </a:r>
            <a:r>
              <a:rPr lang="en-US" sz="3400" dirty="0"/>
              <a:t>(1) </a:t>
            </a:r>
          </a:p>
        </p:txBody>
      </p:sp>
    </p:spTree>
    <p:extLst>
      <p:ext uri="{BB962C8B-B14F-4D97-AF65-F5344CB8AC3E}">
        <p14:creationId xmlns:p14="http://schemas.microsoft.com/office/powerpoint/2010/main" val="29912288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6191" y="59741"/>
            <a:ext cx="9687340" cy="814318"/>
          </a:xfrm>
        </p:spPr>
        <p:txBody>
          <a:bodyPr/>
          <a:lstStyle/>
          <a:p>
            <a:r>
              <a:rPr lang="en-US" sz="4000" dirty="0"/>
              <a:t>Objectives of Index Contact Testing</a:t>
            </a:r>
          </a:p>
        </p:txBody>
      </p:sp>
      <p:sp>
        <p:nvSpPr>
          <p:cNvPr id="3" name="Content Placeholder 2"/>
          <p:cNvSpPr>
            <a:spLocks noGrp="1"/>
          </p:cNvSpPr>
          <p:nvPr>
            <p:ph idx="1"/>
          </p:nvPr>
        </p:nvSpPr>
        <p:spPr>
          <a:xfrm>
            <a:off x="1166192" y="1264024"/>
            <a:ext cx="10187609" cy="4912939"/>
          </a:xfrm>
        </p:spPr>
        <p:txBody>
          <a:bodyPr/>
          <a:lstStyle/>
          <a:p>
            <a:pPr lvl="0"/>
            <a:r>
              <a:rPr lang="en-US" sz="3200" dirty="0"/>
              <a:t>To reduce new HIV infections  </a:t>
            </a:r>
          </a:p>
          <a:p>
            <a:pPr lvl="0"/>
            <a:r>
              <a:rPr lang="en-US" sz="3200" dirty="0"/>
              <a:t>To scale up HTS for unreached populations </a:t>
            </a:r>
          </a:p>
          <a:p>
            <a:pPr lvl="0"/>
            <a:r>
              <a:rPr lang="en-US" sz="3200" dirty="0"/>
              <a:t>To refer and link to care newly diagnosed persons </a:t>
            </a:r>
          </a:p>
          <a:p>
            <a:endParaRPr lang="en-US" sz="3200" dirty="0"/>
          </a:p>
        </p:txBody>
      </p:sp>
    </p:spTree>
    <p:extLst>
      <p:ext uri="{BB962C8B-B14F-4D97-AF65-F5344CB8AC3E}">
        <p14:creationId xmlns:p14="http://schemas.microsoft.com/office/powerpoint/2010/main" val="12502353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4030" y="981544"/>
            <a:ext cx="10349394" cy="605118"/>
          </a:xfrm>
        </p:spPr>
        <p:txBody>
          <a:bodyPr>
            <a:normAutofit fontScale="90000"/>
          </a:bodyPr>
          <a:lstStyle/>
          <a:p>
            <a:r>
              <a:rPr lang="en-US" sz="4300" dirty="0">
                <a:solidFill>
                  <a:srgbClr val="048DB8"/>
                </a:solidFill>
              </a:rPr>
              <a:t>Instruction includes:</a:t>
            </a:r>
          </a:p>
        </p:txBody>
      </p:sp>
      <p:graphicFrame>
        <p:nvGraphicFramePr>
          <p:cNvPr id="7" name="Diagram 6"/>
          <p:cNvGraphicFramePr/>
          <p:nvPr/>
        </p:nvGraphicFramePr>
        <p:xfrm>
          <a:off x="1261871" y="1691323"/>
          <a:ext cx="9253729" cy="47363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ounded Rectangle 7"/>
          <p:cNvSpPr/>
          <p:nvPr/>
        </p:nvSpPr>
        <p:spPr>
          <a:xfrm>
            <a:off x="169352" y="154718"/>
            <a:ext cx="10346248" cy="722165"/>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3400" dirty="0"/>
              <a:t>Phase 2: </a:t>
            </a:r>
            <a:r>
              <a:rPr lang="en-US" sz="3600" dirty="0"/>
              <a:t>Recruiter Instruction (1) </a:t>
            </a:r>
            <a:endParaRPr lang="en-US" sz="3400" dirty="0"/>
          </a:p>
        </p:txBody>
      </p:sp>
    </p:spTree>
    <p:extLst>
      <p:ext uri="{BB962C8B-B14F-4D97-AF65-F5344CB8AC3E}">
        <p14:creationId xmlns:p14="http://schemas.microsoft.com/office/powerpoint/2010/main" val="1941290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822960" y="891287"/>
            <a:ext cx="9692640" cy="800033"/>
          </a:xfrm>
        </p:spPr>
        <p:txBody>
          <a:bodyPr>
            <a:noAutofit/>
          </a:bodyPr>
          <a:lstStyle/>
          <a:p>
            <a:r>
              <a:rPr lang="en-US" sz="4000" dirty="0">
                <a:solidFill>
                  <a:srgbClr val="048DB8"/>
                </a:solidFill>
              </a:rPr>
              <a:t>Recruitment Instruction Sheet</a:t>
            </a:r>
          </a:p>
        </p:txBody>
      </p:sp>
      <p:graphicFrame>
        <p:nvGraphicFramePr>
          <p:cNvPr id="9" name="Content Placeholder 3"/>
          <p:cNvGraphicFramePr>
            <a:graphicFrameLocks/>
          </p:cNvGraphicFramePr>
          <p:nvPr/>
        </p:nvGraphicFramePr>
        <p:xfrm>
          <a:off x="198783" y="1691320"/>
          <a:ext cx="10379570" cy="48602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ounded Rectangle 7">
            <a:extLst>
              <a:ext uri="{FF2B5EF4-FFF2-40B4-BE49-F238E27FC236}">
                <a16:creationId xmlns:a16="http://schemas.microsoft.com/office/drawing/2014/main" id="{44E88EBC-33CB-41FD-9E1B-1C5623AE283E}"/>
              </a:ext>
            </a:extLst>
          </p:cNvPr>
          <p:cNvSpPr/>
          <p:nvPr/>
        </p:nvSpPr>
        <p:spPr>
          <a:xfrm>
            <a:off x="169352" y="154718"/>
            <a:ext cx="10346248" cy="722165"/>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3400" dirty="0"/>
              <a:t>Phase 2: </a:t>
            </a:r>
            <a:r>
              <a:rPr lang="en-US" sz="3600" dirty="0"/>
              <a:t>Recruiter Instruction (2) </a:t>
            </a:r>
            <a:endParaRPr lang="en-US" sz="3400" dirty="0"/>
          </a:p>
        </p:txBody>
      </p:sp>
    </p:spTree>
    <p:extLst>
      <p:ext uri="{BB962C8B-B14F-4D97-AF65-F5344CB8AC3E}">
        <p14:creationId xmlns:p14="http://schemas.microsoft.com/office/powerpoint/2010/main" val="30757667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Diagram 70"/>
          <p:cNvGraphicFramePr/>
          <p:nvPr/>
        </p:nvGraphicFramePr>
        <p:xfrm>
          <a:off x="1104901" y="1246202"/>
          <a:ext cx="8915820" cy="54265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0339" y="910797"/>
            <a:ext cx="1451761" cy="1451761"/>
          </a:xfrm>
          <a:prstGeom prst="rect">
            <a:avLst/>
          </a:prstGeom>
        </p:spPr>
      </p:pic>
      <p:pic>
        <p:nvPicPr>
          <p:cNvPr id="6" name="Picture 5"/>
          <p:cNvPicPr>
            <a:picLocks noChangeAspect="1"/>
          </p:cNvPicPr>
          <p:nvPr/>
        </p:nvPicPr>
        <p:blipFill rotWithShape="1">
          <a:blip r:embed="rId9">
            <a:extLst>
              <a:ext uri="{28A0092B-C50C-407E-A947-70E740481C1C}">
                <a14:useLocalDpi xmlns:a14="http://schemas.microsoft.com/office/drawing/2010/main" val="0"/>
              </a:ext>
            </a:extLst>
          </a:blip>
          <a:srcRect r="4348" b="10802"/>
          <a:stretch/>
        </p:blipFill>
        <p:spPr>
          <a:xfrm>
            <a:off x="8704072" y="1008526"/>
            <a:ext cx="1610547" cy="1292974"/>
          </a:xfrm>
          <a:prstGeom prst="rect">
            <a:avLst/>
          </a:prstGeom>
        </p:spPr>
      </p:pic>
      <p:sp>
        <p:nvSpPr>
          <p:cNvPr id="7" name="Bent Arrow 6"/>
          <p:cNvSpPr/>
          <p:nvPr/>
        </p:nvSpPr>
        <p:spPr>
          <a:xfrm rot="10800000">
            <a:off x="6748272" y="2336503"/>
            <a:ext cx="2852928" cy="631980"/>
          </a:xfrm>
          <a:prstGeom prst="bentArrow">
            <a:avLst>
              <a:gd name="adj1" fmla="val 36640"/>
              <a:gd name="adj2" fmla="val 38757"/>
              <a:gd name="adj3" fmla="val 50000"/>
              <a:gd name="adj4" fmla="val 34226"/>
            </a:avLst>
          </a:prstGeom>
          <a:solidFill>
            <a:srgbClr val="42B0D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Round Diagonal Corner Rectangle 20"/>
          <p:cNvSpPr/>
          <p:nvPr/>
        </p:nvSpPr>
        <p:spPr>
          <a:xfrm>
            <a:off x="8933919" y="3317225"/>
            <a:ext cx="2173603" cy="1033670"/>
          </a:xfrm>
          <a:prstGeom prst="round2DiagRect">
            <a:avLst/>
          </a:prstGeom>
          <a:solidFill>
            <a:srgbClr val="191D3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Peer recruitment can increase yield</a:t>
            </a:r>
          </a:p>
        </p:txBody>
      </p:sp>
      <p:sp>
        <p:nvSpPr>
          <p:cNvPr id="22" name="Round Diagonal Corner Rectangle 21"/>
          <p:cNvSpPr/>
          <p:nvPr/>
        </p:nvSpPr>
        <p:spPr>
          <a:xfrm>
            <a:off x="203002" y="5747671"/>
            <a:ext cx="2481848" cy="925058"/>
          </a:xfrm>
          <a:prstGeom prst="round2DiagRect">
            <a:avLst/>
          </a:prstGeom>
          <a:solidFill>
            <a:srgbClr val="191D3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Both HIV+ and HIV-  clients can recruit</a:t>
            </a:r>
          </a:p>
        </p:txBody>
      </p:sp>
      <p:sp>
        <p:nvSpPr>
          <p:cNvPr id="150" name="Bent Arrow 149"/>
          <p:cNvSpPr/>
          <p:nvPr/>
        </p:nvSpPr>
        <p:spPr>
          <a:xfrm rot="10800000" flipH="1">
            <a:off x="1443926" y="2336504"/>
            <a:ext cx="2849408" cy="626224"/>
          </a:xfrm>
          <a:prstGeom prst="bentArrow">
            <a:avLst>
              <a:gd name="adj1" fmla="val 36640"/>
              <a:gd name="adj2" fmla="val 38757"/>
              <a:gd name="adj3" fmla="val 50000"/>
              <a:gd name="adj4" fmla="val 34226"/>
            </a:avLst>
          </a:prstGeom>
          <a:solidFill>
            <a:srgbClr val="42B0D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4" name="Group 3"/>
          <p:cNvGrpSpPr/>
          <p:nvPr/>
        </p:nvGrpSpPr>
        <p:grpSpPr>
          <a:xfrm>
            <a:off x="9767115" y="5328023"/>
            <a:ext cx="1183342" cy="1344706"/>
            <a:chOff x="9767115" y="5328023"/>
            <a:chExt cx="1183342" cy="1344706"/>
          </a:xfrm>
        </p:grpSpPr>
        <p:sp>
          <p:nvSpPr>
            <p:cNvPr id="73" name="Rounded Rectangle 72"/>
            <p:cNvSpPr/>
            <p:nvPr/>
          </p:nvSpPr>
          <p:spPr>
            <a:xfrm>
              <a:off x="9767115" y="5328023"/>
              <a:ext cx="1183341" cy="13447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p:cNvSpPr/>
            <p:nvPr/>
          </p:nvSpPr>
          <p:spPr>
            <a:xfrm>
              <a:off x="9938403" y="5521724"/>
              <a:ext cx="365633" cy="365633"/>
            </a:xfrm>
            <a:prstGeom prst="ellipse">
              <a:avLst/>
            </a:prstGeom>
            <a:solidFill>
              <a:srgbClr val="C00000"/>
            </a:solidFill>
            <a:ln>
              <a:solidFill>
                <a:schemeClr val="tx2"/>
              </a:solid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75" name="Oval 74"/>
            <p:cNvSpPr/>
            <p:nvPr/>
          </p:nvSpPr>
          <p:spPr>
            <a:xfrm>
              <a:off x="9938403" y="6125560"/>
              <a:ext cx="365633" cy="365633"/>
            </a:xfrm>
            <a:prstGeom prst="ellipse">
              <a:avLst/>
            </a:prstGeom>
            <a:solidFill>
              <a:srgbClr val="191D34"/>
            </a:solidFill>
            <a:ln>
              <a:solidFill>
                <a:schemeClr val="bg2"/>
              </a:solidFill>
            </a:ln>
          </p:spPr>
          <p:style>
            <a:lnRef idx="2">
              <a:scrgbClr r="0" g="0" b="0"/>
            </a:lnRef>
            <a:fillRef idx="1">
              <a:scrgbClr r="0" g="0" b="0"/>
            </a:fillRef>
            <a:effectRef idx="0">
              <a:schemeClr val="dk2">
                <a:hueOff val="0"/>
                <a:satOff val="0"/>
                <a:lumOff val="0"/>
                <a:alphaOff val="0"/>
              </a:schemeClr>
            </a:effectRef>
            <a:fontRef idx="minor">
              <a:schemeClr val="lt1"/>
            </a:fontRef>
          </p:style>
        </p:sp>
        <p:sp>
          <p:nvSpPr>
            <p:cNvPr id="76" name="TextBox 75"/>
            <p:cNvSpPr txBox="1"/>
            <p:nvPr/>
          </p:nvSpPr>
          <p:spPr>
            <a:xfrm>
              <a:off x="10304037" y="5521724"/>
              <a:ext cx="646420" cy="369332"/>
            </a:xfrm>
            <a:prstGeom prst="rect">
              <a:avLst/>
            </a:prstGeom>
            <a:noFill/>
          </p:spPr>
          <p:txBody>
            <a:bodyPr wrap="square" rtlCol="0">
              <a:spAutoFit/>
            </a:bodyPr>
            <a:lstStyle/>
            <a:p>
              <a:r>
                <a:rPr lang="en-US" dirty="0"/>
                <a:t>HIV+</a:t>
              </a:r>
            </a:p>
          </p:txBody>
        </p:sp>
        <p:sp>
          <p:nvSpPr>
            <p:cNvPr id="77" name="TextBox 76"/>
            <p:cNvSpPr txBox="1"/>
            <p:nvPr/>
          </p:nvSpPr>
          <p:spPr>
            <a:xfrm>
              <a:off x="10304036" y="6090964"/>
              <a:ext cx="646420" cy="369332"/>
            </a:xfrm>
            <a:prstGeom prst="rect">
              <a:avLst/>
            </a:prstGeom>
            <a:noFill/>
          </p:spPr>
          <p:txBody>
            <a:bodyPr wrap="square" rtlCol="0">
              <a:spAutoFit/>
            </a:bodyPr>
            <a:lstStyle/>
            <a:p>
              <a:r>
                <a:rPr lang="en-US" dirty="0"/>
                <a:t>HIV– </a:t>
              </a:r>
            </a:p>
          </p:txBody>
        </p:sp>
      </p:grpSp>
      <p:sp>
        <p:nvSpPr>
          <p:cNvPr id="20" name="Rounded Rectangle 19"/>
          <p:cNvSpPr/>
          <p:nvPr/>
        </p:nvSpPr>
        <p:spPr>
          <a:xfrm>
            <a:off x="304800" y="185271"/>
            <a:ext cx="10236200" cy="635169"/>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3000" dirty="0"/>
              <a:t>Phase 3: Recruitment of Network Members (1) </a:t>
            </a:r>
          </a:p>
        </p:txBody>
      </p:sp>
    </p:spTree>
    <p:extLst>
      <p:ext uri="{BB962C8B-B14F-4D97-AF65-F5344CB8AC3E}">
        <p14:creationId xmlns:p14="http://schemas.microsoft.com/office/powerpoint/2010/main" val="21138441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nvPr>
        </p:nvGraphicFramePr>
        <p:xfrm>
          <a:off x="1262063" y="1828800"/>
          <a:ext cx="8594725"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ounded Rectangle 7"/>
          <p:cNvSpPr/>
          <p:nvPr/>
        </p:nvSpPr>
        <p:spPr>
          <a:xfrm>
            <a:off x="495300" y="168742"/>
            <a:ext cx="10160000" cy="976065"/>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3000" dirty="0"/>
              <a:t>Phase 4: Testing of Network Members &amp; Offering an Opportunity to Recruit</a:t>
            </a:r>
          </a:p>
        </p:txBody>
      </p:sp>
    </p:spTree>
    <p:extLst>
      <p:ext uri="{BB962C8B-B14F-4D97-AF65-F5344CB8AC3E}">
        <p14:creationId xmlns:p14="http://schemas.microsoft.com/office/powerpoint/2010/main" val="25762822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609600" y="228600"/>
            <a:ext cx="10016081" cy="7239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400" kern="1200" spc="-50" baseline="0">
                <a:solidFill>
                  <a:schemeClr val="tx1"/>
                </a:solidFill>
                <a:latin typeface="+mj-lt"/>
                <a:ea typeface="+mj-ea"/>
                <a:cs typeface="+mj-cs"/>
              </a:defRPr>
            </a:lvl1pPr>
          </a:lstStyle>
          <a:p>
            <a:r>
              <a:rPr lang="en-US" sz="3200" dirty="0">
                <a:solidFill>
                  <a:srgbClr val="048DB8"/>
                </a:solidFill>
              </a:rPr>
              <a:t>Potential Concerns and Implementation Considerations</a:t>
            </a:r>
          </a:p>
        </p:txBody>
      </p:sp>
      <p:graphicFrame>
        <p:nvGraphicFramePr>
          <p:cNvPr id="7" name="Content Placeholder 4">
            <a:extLst>
              <a:ext uri="{FF2B5EF4-FFF2-40B4-BE49-F238E27FC236}">
                <a16:creationId xmlns:a16="http://schemas.microsoft.com/office/drawing/2014/main" id="{7DDAB3A4-2E3F-4C90-B0CC-1008386CAB16}"/>
              </a:ext>
            </a:extLst>
          </p:cNvPr>
          <p:cNvGraphicFramePr>
            <a:graphicFrameLocks/>
          </p:cNvGraphicFramePr>
          <p:nvPr/>
        </p:nvGraphicFramePr>
        <p:xfrm>
          <a:off x="684696" y="1405491"/>
          <a:ext cx="10211904" cy="5329892"/>
        </p:xfrm>
        <a:graphic>
          <a:graphicData uri="http://schemas.openxmlformats.org/drawingml/2006/table">
            <a:tbl>
              <a:tblPr firstRow="1" bandRow="1">
                <a:tableStyleId>{69012ECD-51FC-41F1-AA8D-1B2483CD663E}</a:tableStyleId>
              </a:tblPr>
              <a:tblGrid>
                <a:gridCol w="3687632">
                  <a:extLst>
                    <a:ext uri="{9D8B030D-6E8A-4147-A177-3AD203B41FA5}">
                      <a16:colId xmlns:a16="http://schemas.microsoft.com/office/drawing/2014/main" val="3568980631"/>
                    </a:ext>
                  </a:extLst>
                </a:gridCol>
                <a:gridCol w="6524272">
                  <a:extLst>
                    <a:ext uri="{9D8B030D-6E8A-4147-A177-3AD203B41FA5}">
                      <a16:colId xmlns:a16="http://schemas.microsoft.com/office/drawing/2014/main" val="3894924927"/>
                    </a:ext>
                  </a:extLst>
                </a:gridCol>
              </a:tblGrid>
              <a:tr h="435427">
                <a:tc>
                  <a:txBody>
                    <a:bodyPr/>
                    <a:lstStyle/>
                    <a:p>
                      <a:r>
                        <a:rPr lang="en-US" sz="2400" dirty="0">
                          <a:solidFill>
                            <a:schemeClr val="bg1"/>
                          </a:solidFill>
                        </a:rPr>
                        <a:t>Potential concern</a:t>
                      </a:r>
                      <a:endParaRPr lang="en-US" sz="2400" b="1" dirty="0">
                        <a:solidFill>
                          <a:schemeClr val="bg1"/>
                        </a:solidFill>
                      </a:endParaRPr>
                    </a:p>
                  </a:txBody>
                  <a:tcPr>
                    <a:solidFill>
                      <a:schemeClr val="accent1"/>
                    </a:solidFill>
                  </a:tcPr>
                </a:tc>
                <a:tc>
                  <a:txBody>
                    <a:bodyPr/>
                    <a:lstStyle/>
                    <a:p>
                      <a:pPr marL="0" indent="0">
                        <a:buFont typeface="Arial" panose="020B0604020202020204" pitchFamily="34" charset="0"/>
                        <a:buNone/>
                      </a:pPr>
                      <a:r>
                        <a:rPr lang="en-US" sz="2400" dirty="0">
                          <a:solidFill>
                            <a:schemeClr val="bg1"/>
                          </a:solidFill>
                        </a:rPr>
                        <a:t>Implementation consideration</a:t>
                      </a:r>
                      <a:endParaRPr lang="en-US" sz="2400" b="1" dirty="0">
                        <a:solidFill>
                          <a:schemeClr val="bg1"/>
                        </a:solidFill>
                      </a:endParaRPr>
                    </a:p>
                  </a:txBody>
                  <a:tcPr>
                    <a:solidFill>
                      <a:schemeClr val="accent1"/>
                    </a:solidFill>
                  </a:tcPr>
                </a:tc>
                <a:extLst>
                  <a:ext uri="{0D108BD9-81ED-4DB2-BD59-A6C34878D82A}">
                    <a16:rowId xmlns:a16="http://schemas.microsoft.com/office/drawing/2014/main" val="4133761651"/>
                  </a:ext>
                </a:extLst>
              </a:tr>
              <a:tr h="1563270">
                <a:tc>
                  <a:txBody>
                    <a:bodyPr/>
                    <a:lstStyle/>
                    <a:p>
                      <a:r>
                        <a:rPr lang="en-US" sz="2000" dirty="0">
                          <a:solidFill>
                            <a:sysClr val="windowText" lastClr="000000"/>
                          </a:solidFill>
                        </a:rPr>
                        <a:t>Potentially coercive and</a:t>
                      </a:r>
                      <a:r>
                        <a:rPr lang="en-US" sz="2000" baseline="0" dirty="0">
                          <a:solidFill>
                            <a:sysClr val="windowText" lastClr="000000"/>
                          </a:solidFill>
                        </a:rPr>
                        <a:t> may result in risk to individual (e.g. abuse from spouse)</a:t>
                      </a:r>
                      <a:endParaRPr lang="en-US" sz="2000" dirty="0">
                        <a:solidFill>
                          <a:sysClr val="windowText" lastClr="000000"/>
                        </a:solidFill>
                      </a:endParaRPr>
                    </a:p>
                  </a:txBody>
                  <a:tcPr/>
                </a:tc>
                <a:tc>
                  <a:txBody>
                    <a:bodyPr/>
                    <a:lstStyle/>
                    <a:p>
                      <a:pPr marL="285750" indent="-285750">
                        <a:buFont typeface="Arial" panose="020B0604020202020204" pitchFamily="34" charset="0"/>
                        <a:buChar char="•"/>
                      </a:pPr>
                      <a:r>
                        <a:rPr lang="en-US" sz="2000" dirty="0">
                          <a:solidFill>
                            <a:sysClr val="windowText" lastClr="000000"/>
                          </a:solidFill>
                        </a:rPr>
                        <a:t>Not reported</a:t>
                      </a:r>
                      <a:r>
                        <a:rPr lang="en-US" sz="2000" baseline="0" dirty="0">
                          <a:solidFill>
                            <a:sysClr val="windowText" lastClr="000000"/>
                          </a:solidFill>
                        </a:rPr>
                        <a:t> by programs as significant issue</a:t>
                      </a:r>
                      <a:endParaRPr lang="en-US" sz="2000" dirty="0">
                        <a:solidFill>
                          <a:sysClr val="windowText" lastClr="000000"/>
                        </a:solidFill>
                      </a:endParaRPr>
                    </a:p>
                    <a:p>
                      <a:pPr marL="285750" indent="-285750">
                        <a:buFont typeface="Arial" panose="020B0604020202020204" pitchFamily="34" charset="0"/>
                        <a:buChar char="•"/>
                      </a:pPr>
                      <a:r>
                        <a:rPr lang="en-US" sz="2000" dirty="0">
                          <a:solidFill>
                            <a:sysClr val="windowText" lastClr="000000"/>
                          </a:solidFill>
                        </a:rPr>
                        <a:t>Formative</a:t>
                      </a:r>
                      <a:r>
                        <a:rPr lang="en-US" sz="2000" baseline="0" dirty="0">
                          <a:solidFill>
                            <a:sysClr val="windowText" lastClr="000000"/>
                          </a:solidFill>
                        </a:rPr>
                        <a:t> research and piloting can identify value of incentive that represents ‘nudge’ from inaction to action, not coercion</a:t>
                      </a:r>
                    </a:p>
                    <a:p>
                      <a:pPr marL="285750" indent="-285750">
                        <a:buFont typeface="Arial" panose="020B0604020202020204" pitchFamily="34" charset="0"/>
                        <a:buChar char="•"/>
                      </a:pPr>
                      <a:r>
                        <a:rPr lang="en-US" sz="2000" baseline="0" dirty="0">
                          <a:solidFill>
                            <a:sysClr val="windowText" lastClr="000000"/>
                          </a:solidFill>
                        </a:rPr>
                        <a:t>Incentives should be small</a:t>
                      </a:r>
                      <a:endParaRPr lang="en-US" sz="2000" dirty="0">
                        <a:solidFill>
                          <a:sysClr val="windowText" lastClr="000000"/>
                        </a:solidFill>
                      </a:endParaRPr>
                    </a:p>
                  </a:txBody>
                  <a:tcPr/>
                </a:tc>
                <a:extLst>
                  <a:ext uri="{0D108BD9-81ED-4DB2-BD59-A6C34878D82A}">
                    <a16:rowId xmlns:a16="http://schemas.microsoft.com/office/drawing/2014/main" val="3260428489"/>
                  </a:ext>
                </a:extLst>
              </a:tr>
              <a:tr h="1422394">
                <a:tc>
                  <a:txBody>
                    <a:bodyPr/>
                    <a:lstStyle/>
                    <a:p>
                      <a:r>
                        <a:rPr lang="en-US" sz="2000" dirty="0">
                          <a:solidFill>
                            <a:sysClr val="windowText" lastClr="000000"/>
                          </a:solidFill>
                        </a:rPr>
                        <a:t>Long-term</a:t>
                      </a:r>
                      <a:r>
                        <a:rPr lang="en-US" sz="2000" baseline="0" dirty="0">
                          <a:solidFill>
                            <a:sysClr val="windowText" lastClr="000000"/>
                          </a:solidFill>
                        </a:rPr>
                        <a:t> sustainability of offering incentives</a:t>
                      </a:r>
                      <a:endParaRPr lang="en-US" sz="2000" dirty="0">
                        <a:solidFill>
                          <a:sysClr val="windowText" lastClr="000000"/>
                        </a:solidFill>
                      </a:endParaRPr>
                    </a:p>
                  </a:txBody>
                  <a:tcPr/>
                </a:tc>
                <a:tc>
                  <a:txBody>
                    <a:bodyPr/>
                    <a:lstStyle/>
                    <a:p>
                      <a:pPr marL="285750" indent="-285750">
                        <a:buFont typeface="Arial" panose="020B0604020202020204" pitchFamily="34" charset="0"/>
                        <a:buChar char="•"/>
                      </a:pPr>
                      <a:r>
                        <a:rPr lang="en-US" sz="2000" dirty="0">
                          <a:solidFill>
                            <a:sysClr val="windowText" lastClr="000000"/>
                          </a:solidFill>
                        </a:rPr>
                        <a:t>Incentives should be small</a:t>
                      </a:r>
                      <a:r>
                        <a:rPr lang="en-US" sz="2000" baseline="0" dirty="0">
                          <a:solidFill>
                            <a:sysClr val="windowText" lastClr="000000"/>
                          </a:solidFill>
                        </a:rPr>
                        <a:t> or can be lottery-based</a:t>
                      </a:r>
                    </a:p>
                    <a:p>
                      <a:pPr marL="576263" indent="-347663">
                        <a:buSzPct val="80000"/>
                        <a:buFont typeface="Courier New" panose="02070309020205020404" pitchFamily="49" charset="0"/>
                        <a:buChar char="o"/>
                      </a:pPr>
                      <a:r>
                        <a:rPr lang="en-US" sz="1600" baseline="0" dirty="0">
                          <a:solidFill>
                            <a:sysClr val="windowText" lastClr="000000"/>
                          </a:solidFill>
                        </a:rPr>
                        <a:t>Food, transportation, or phone vouchers, personal hygiene kits, make-up kits, childcare services, or promotional products </a:t>
                      </a:r>
                    </a:p>
                    <a:p>
                      <a:pPr marL="285750" indent="-285750">
                        <a:buFont typeface="Arial" panose="020B0604020202020204" pitchFamily="34" charset="0"/>
                        <a:buChar char="•"/>
                      </a:pPr>
                      <a:r>
                        <a:rPr lang="en-US" sz="2000" baseline="0" dirty="0">
                          <a:solidFill>
                            <a:sysClr val="windowText" lastClr="000000"/>
                          </a:solidFill>
                        </a:rPr>
                        <a:t>Case finding can be short term strategy until yield and/or new recruits drop</a:t>
                      </a:r>
                    </a:p>
                  </a:txBody>
                  <a:tcPr/>
                </a:tc>
                <a:extLst>
                  <a:ext uri="{0D108BD9-81ED-4DB2-BD59-A6C34878D82A}">
                    <a16:rowId xmlns:a16="http://schemas.microsoft.com/office/drawing/2014/main" val="685091024"/>
                  </a:ext>
                </a:extLst>
              </a:tr>
              <a:tr h="1265504">
                <a:tc>
                  <a:txBody>
                    <a:bodyPr/>
                    <a:lstStyle/>
                    <a:p>
                      <a:r>
                        <a:rPr lang="en-US" sz="2000" dirty="0">
                          <a:solidFill>
                            <a:sysClr val="windowText" lastClr="000000"/>
                          </a:solidFill>
                        </a:rPr>
                        <a:t>Same positive individual will re-test to receive incentive</a:t>
                      </a:r>
                    </a:p>
                  </a:txBody>
                  <a:tcPr/>
                </a:tc>
                <a:tc>
                  <a:txBody>
                    <a:bodyPr/>
                    <a:lstStyle/>
                    <a:p>
                      <a:pPr marL="285750" indent="-285750">
                        <a:buFont typeface="Arial" panose="020B0604020202020204" pitchFamily="34" charset="0"/>
                        <a:buChar char="•"/>
                      </a:pPr>
                      <a:r>
                        <a:rPr lang="en-US" sz="2000" dirty="0">
                          <a:solidFill>
                            <a:sysClr val="windowText" lastClr="000000"/>
                          </a:solidFill>
                        </a:rPr>
                        <a:t>Use of unique identifiers</a:t>
                      </a:r>
                      <a:r>
                        <a:rPr lang="en-US" sz="2000" baseline="0" dirty="0">
                          <a:solidFill>
                            <a:sysClr val="windowText" lastClr="000000"/>
                          </a:solidFill>
                        </a:rPr>
                        <a:t> or biometrics to prevent frequent re-testing</a:t>
                      </a:r>
                    </a:p>
                    <a:p>
                      <a:pPr marL="285750" indent="-285750">
                        <a:buFont typeface="Arial" panose="020B0604020202020204" pitchFamily="34" charset="0"/>
                        <a:buChar char="•"/>
                      </a:pPr>
                      <a:r>
                        <a:rPr lang="en-US" sz="2000" baseline="0" dirty="0">
                          <a:solidFill>
                            <a:sysClr val="windowText" lastClr="000000"/>
                          </a:solidFill>
                        </a:rPr>
                        <a:t>Use identifying physical marks or descriptions to track participants (tattoos, scars, baldness, etc.)</a:t>
                      </a:r>
                    </a:p>
                  </a:txBody>
                  <a:tcPr/>
                </a:tc>
                <a:extLst>
                  <a:ext uri="{0D108BD9-81ED-4DB2-BD59-A6C34878D82A}">
                    <a16:rowId xmlns:a16="http://schemas.microsoft.com/office/drawing/2014/main" val="3496881275"/>
                  </a:ext>
                </a:extLst>
              </a:tr>
              <a:tr h="453092">
                <a:tc>
                  <a:txBody>
                    <a:bodyPr/>
                    <a:lstStyle/>
                    <a:p>
                      <a:r>
                        <a:rPr lang="en-US" sz="2000" dirty="0">
                          <a:solidFill>
                            <a:sysClr val="windowText" lastClr="000000"/>
                          </a:solidFill>
                        </a:rPr>
                        <a:t>HIV confidentiality</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aseline="0" dirty="0">
                          <a:solidFill>
                            <a:sysClr val="windowText" lastClr="000000"/>
                          </a:solidFill>
                        </a:rPr>
                        <a:t>Offer incentives regardless of test result</a:t>
                      </a:r>
                      <a:endParaRPr lang="en-US" sz="2000" dirty="0">
                        <a:solidFill>
                          <a:sysClr val="windowText" lastClr="000000"/>
                        </a:solidFill>
                      </a:endParaRPr>
                    </a:p>
                  </a:txBody>
                  <a:tcPr/>
                </a:tc>
                <a:extLst>
                  <a:ext uri="{0D108BD9-81ED-4DB2-BD59-A6C34878D82A}">
                    <a16:rowId xmlns:a16="http://schemas.microsoft.com/office/drawing/2014/main" val="1564700227"/>
                  </a:ext>
                </a:extLst>
              </a:tr>
            </a:tbl>
          </a:graphicData>
        </a:graphic>
      </p:graphicFrame>
    </p:spTree>
    <p:extLst>
      <p:ext uri="{BB962C8B-B14F-4D97-AF65-F5344CB8AC3E}">
        <p14:creationId xmlns:p14="http://schemas.microsoft.com/office/powerpoint/2010/main" val="4016328065"/>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Content Placeholder 3">
            <a:extLst>
              <a:ext uri="{FF2B5EF4-FFF2-40B4-BE49-F238E27FC236}">
                <a16:creationId xmlns:a16="http://schemas.microsoft.com/office/drawing/2014/main" id="{F9AE854B-633E-4558-ABE7-B9FF5190F372}"/>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847725" y="923925"/>
            <a:ext cx="10414000" cy="5178425"/>
          </a:xfr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9600" y="887506"/>
            <a:ext cx="10972800" cy="5056094"/>
          </a:xfrm>
        </p:spPr>
        <p:txBody>
          <a:bodyPr/>
          <a:lstStyle/>
          <a:p>
            <a:r>
              <a:rPr lang="en-US" sz="2800" b="1" dirty="0"/>
              <a:t>Index Contact Testing,</a:t>
            </a:r>
            <a:r>
              <a:rPr lang="en-US" sz="2800" dirty="0"/>
              <a:t> also known as contact tracing, is a voluntary process where trained health workers ask people diagnosed with HIV about their sexual partners or drug injecting partners, and with the consent of the HIV-positive client, offer these partners voluntary HIV testing services (HTS).  </a:t>
            </a:r>
          </a:p>
          <a:p>
            <a:pPr marL="0" indent="0">
              <a:buNone/>
            </a:pPr>
            <a:endParaRPr lang="en-US" sz="2800" dirty="0"/>
          </a:p>
          <a:p>
            <a:r>
              <a:rPr lang="en-US" sz="2800" b="1" dirty="0"/>
              <a:t>Passive HIV partner notification services</a:t>
            </a:r>
            <a:r>
              <a:rPr lang="en-US" sz="2800" dirty="0"/>
              <a:t> refer to when HIV-positive clients are encouraged by a trained provider to disclose their HIV status to their sexual and/ or drug injecting partners by themselves, and to suggest HTS to the partner(s) given their potential exposure to HIV infection.</a:t>
            </a:r>
          </a:p>
          <a:p>
            <a:br>
              <a:rPr lang="en-US" sz="2800" dirty="0"/>
            </a:br>
            <a:r>
              <a:rPr lang="en-US" sz="2800" b="1" dirty="0"/>
              <a:t> </a:t>
            </a:r>
            <a:endParaRPr lang="en-US" sz="2800" dirty="0"/>
          </a:p>
          <a:p>
            <a:endParaRPr lang="en-US" dirty="0"/>
          </a:p>
        </p:txBody>
      </p:sp>
      <p:sp>
        <p:nvSpPr>
          <p:cNvPr id="3" name="Title 2"/>
          <p:cNvSpPr>
            <a:spLocks noGrp="1"/>
          </p:cNvSpPr>
          <p:nvPr>
            <p:ph type="title"/>
          </p:nvPr>
        </p:nvSpPr>
        <p:spPr/>
        <p:txBody>
          <a:bodyPr/>
          <a:lstStyle/>
          <a:p>
            <a:r>
              <a:rPr lang="en-US" b="1" dirty="0">
                <a:solidFill>
                  <a:schemeClr val="tx1"/>
                </a:solidFill>
              </a:rPr>
              <a:t>Definition of Terms  </a:t>
            </a:r>
          </a:p>
        </p:txBody>
      </p:sp>
    </p:spTree>
    <p:extLst>
      <p:ext uri="{BB962C8B-B14F-4D97-AF65-F5344CB8AC3E}">
        <p14:creationId xmlns:p14="http://schemas.microsoft.com/office/powerpoint/2010/main" val="4729978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9600" y="820271"/>
            <a:ext cx="10972800" cy="5123329"/>
          </a:xfrm>
        </p:spPr>
        <p:txBody>
          <a:bodyPr/>
          <a:lstStyle/>
          <a:p>
            <a:r>
              <a:rPr lang="en-US" sz="2800" b="1" dirty="0"/>
              <a:t>Index Contact Testing </a:t>
            </a:r>
            <a:r>
              <a:rPr lang="en-US" sz="2800" dirty="0"/>
              <a:t>refers to a voluntary process where consenting HIV positive clients are assisted by a trained provider to elicit their sexual and/or drug injecting partner(s) and notify them of their potential exposure to HIV infection with an aim of offering them HTS. Clients are empowered/assisted to disclose their HIV status to their partners.</a:t>
            </a:r>
          </a:p>
          <a:p>
            <a:r>
              <a:rPr lang="en-US" sz="2800" b="1" dirty="0"/>
              <a:t>Contract referral:</a:t>
            </a:r>
            <a:r>
              <a:rPr lang="en-US" sz="2800" dirty="0"/>
              <a:t> HIV-positive clients enter into a contract with a trained provider and agree to disclose their status and the potential HIV exposure to their partner(s) by themselves and to refer their partner(s) to HTS within a specific time period. If the partner(s) of the HIV-positive individual does not access HTS or contact the health provider within that period, then the provider will contact the partner(s) directly and offer voluntary HTS.</a:t>
            </a:r>
          </a:p>
          <a:p>
            <a:endParaRPr lang="en-US" sz="2800" dirty="0"/>
          </a:p>
          <a:p>
            <a:endParaRPr lang="en-US" dirty="0"/>
          </a:p>
        </p:txBody>
      </p:sp>
      <p:sp>
        <p:nvSpPr>
          <p:cNvPr id="3" name="Title 2"/>
          <p:cNvSpPr>
            <a:spLocks noGrp="1"/>
          </p:cNvSpPr>
          <p:nvPr>
            <p:ph type="title"/>
          </p:nvPr>
        </p:nvSpPr>
        <p:spPr/>
        <p:txBody>
          <a:bodyPr/>
          <a:lstStyle/>
          <a:p>
            <a:r>
              <a:rPr lang="en-US" b="1" dirty="0">
                <a:solidFill>
                  <a:schemeClr val="tx1"/>
                </a:solidFill>
              </a:rPr>
              <a:t>Definition of Terms Cont..</a:t>
            </a:r>
            <a:endParaRPr lang="en-US" dirty="0"/>
          </a:p>
        </p:txBody>
      </p:sp>
    </p:spTree>
    <p:extLst>
      <p:ext uri="{BB962C8B-B14F-4D97-AF65-F5344CB8AC3E}">
        <p14:creationId xmlns:p14="http://schemas.microsoft.com/office/powerpoint/2010/main" val="28578912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9600" y="927847"/>
            <a:ext cx="10972800" cy="5015753"/>
          </a:xfrm>
        </p:spPr>
        <p:txBody>
          <a:bodyPr/>
          <a:lstStyle/>
          <a:p>
            <a:pPr lvl="0"/>
            <a:r>
              <a:rPr lang="en-US" b="1" dirty="0"/>
              <a:t>Provider referral:</a:t>
            </a:r>
            <a:r>
              <a:rPr lang="en-US" dirty="0"/>
              <a:t> With the consent of the HIV-positive client, a trained provider confidentially contacts the person’s partner(s) directly and offers the partner(s) voluntary HTS.</a:t>
            </a:r>
          </a:p>
          <a:p>
            <a:pPr lvl="0"/>
            <a:r>
              <a:rPr lang="en-US" b="1" dirty="0"/>
              <a:t>Dual referral:</a:t>
            </a:r>
            <a:r>
              <a:rPr lang="en-US" dirty="0"/>
              <a:t> A trained provider accompanies and provides support to HIV positive clients when they disclose their status and the potential exposure to HIV infection to their partner(s). The provider also offers voluntary HTS to the partner(s).</a:t>
            </a:r>
          </a:p>
          <a:p>
            <a:r>
              <a:rPr lang="en-US" b="1" dirty="0"/>
              <a:t>Index client:</a:t>
            </a:r>
            <a:r>
              <a:rPr lang="en-US" dirty="0"/>
              <a:t> an individual newly diagnosed as HIV-positive and/or an HIV-positive individual who may or may not be enrolled in HIV treatment services</a:t>
            </a:r>
          </a:p>
          <a:p>
            <a:r>
              <a:rPr lang="en-US" b="1" dirty="0"/>
              <a:t>Index testing:</a:t>
            </a:r>
            <a:r>
              <a:rPr lang="en-US" dirty="0"/>
              <a:t> voluntary process where counselors and/or health care workers ask index clients to </a:t>
            </a:r>
            <a:r>
              <a:rPr lang="en-US" b="1" dirty="0"/>
              <a:t>list </a:t>
            </a:r>
            <a:r>
              <a:rPr lang="en-US" dirty="0"/>
              <a:t>all of their: (1) sexual or injecting drug partners within the past year, and (2) children and offer them HTS.</a:t>
            </a:r>
          </a:p>
          <a:p>
            <a:endParaRPr lang="en-US" dirty="0"/>
          </a:p>
        </p:txBody>
      </p:sp>
      <p:sp>
        <p:nvSpPr>
          <p:cNvPr id="3" name="Title 2"/>
          <p:cNvSpPr>
            <a:spLocks noGrp="1"/>
          </p:cNvSpPr>
          <p:nvPr>
            <p:ph type="title"/>
          </p:nvPr>
        </p:nvSpPr>
        <p:spPr/>
        <p:txBody>
          <a:bodyPr/>
          <a:lstStyle/>
          <a:p>
            <a:r>
              <a:rPr lang="en-US" b="1" dirty="0">
                <a:solidFill>
                  <a:schemeClr val="tx1"/>
                </a:solidFill>
              </a:rPr>
              <a:t>Definition of Terms Cont..</a:t>
            </a:r>
            <a:endParaRPr lang="en-US" dirty="0"/>
          </a:p>
        </p:txBody>
      </p:sp>
    </p:spTree>
    <p:extLst>
      <p:ext uri="{BB962C8B-B14F-4D97-AF65-F5344CB8AC3E}">
        <p14:creationId xmlns:p14="http://schemas.microsoft.com/office/powerpoint/2010/main" val="30759852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9600" y="847165"/>
            <a:ext cx="10972800" cy="5096435"/>
          </a:xfrm>
        </p:spPr>
        <p:txBody>
          <a:bodyPr/>
          <a:lstStyle/>
          <a:p>
            <a:r>
              <a:rPr lang="en-US" b="1" dirty="0"/>
              <a:t>Sexual partners</a:t>
            </a:r>
            <a:r>
              <a:rPr lang="en-US" dirty="0"/>
              <a:t>: Individuals who have any form of sex, whether vaginal, anal, oral sex with the index client. These include casual and steady sexual partners.</a:t>
            </a:r>
          </a:p>
          <a:p>
            <a:r>
              <a:rPr lang="en-US" b="1" dirty="0"/>
              <a:t>Elicitation of partners:</a:t>
            </a:r>
            <a:r>
              <a:rPr lang="en-US" dirty="0"/>
              <a:t>  This refers to the listing of all sexual and/or drug injecting partner(s) of an index client.</a:t>
            </a:r>
          </a:p>
          <a:p>
            <a:endParaRPr lang="en-US" dirty="0"/>
          </a:p>
          <a:p>
            <a:endParaRPr lang="en-US" dirty="0"/>
          </a:p>
        </p:txBody>
      </p:sp>
      <p:sp>
        <p:nvSpPr>
          <p:cNvPr id="3" name="Title 2"/>
          <p:cNvSpPr>
            <a:spLocks noGrp="1"/>
          </p:cNvSpPr>
          <p:nvPr>
            <p:ph type="title"/>
          </p:nvPr>
        </p:nvSpPr>
        <p:spPr/>
        <p:txBody>
          <a:bodyPr/>
          <a:lstStyle/>
          <a:p>
            <a:r>
              <a:rPr lang="en-US" b="1" dirty="0">
                <a:solidFill>
                  <a:schemeClr val="tx1"/>
                </a:solidFill>
              </a:rPr>
              <a:t>Definition of Terms Cont..</a:t>
            </a:r>
            <a:endParaRPr lang="en-US" dirty="0"/>
          </a:p>
        </p:txBody>
      </p:sp>
    </p:spTree>
    <p:extLst>
      <p:ext uri="{BB962C8B-B14F-4D97-AF65-F5344CB8AC3E}">
        <p14:creationId xmlns:p14="http://schemas.microsoft.com/office/powerpoint/2010/main" val="2320229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9600" y="1296536"/>
            <a:ext cx="10972800" cy="4647063"/>
          </a:xfrm>
        </p:spPr>
        <p:txBody>
          <a:bodyPr/>
          <a:lstStyle/>
          <a:p>
            <a:r>
              <a:rPr lang="en-US" dirty="0"/>
              <a:t>Index Contact Testing increases uptake of HTS among sexual partners of HIV-positive individuals, resulting in high proportions of HIV diagnosis and linkage to care.</a:t>
            </a:r>
          </a:p>
          <a:p>
            <a:r>
              <a:rPr lang="en-US" altLang="en-US" dirty="0">
                <a:latin typeface="Arial Black" panose="020B0A04020102020204" pitchFamily="34" charset="0"/>
                <a:ea typeface="ＭＳ Ｐゴシック" panose="020B0600070205080204" pitchFamily="34" charset="-128"/>
              </a:rPr>
              <a:t>Why focus on Sexual partners? </a:t>
            </a:r>
          </a:p>
          <a:p>
            <a:r>
              <a:rPr lang="en-US" altLang="en-US" dirty="0">
                <a:ea typeface="ＭＳ Ｐゴシック" panose="020B0600070205080204" pitchFamily="34" charset="-128"/>
              </a:rPr>
              <a:t>Main mode of HIV transmission: Heterosexual </a:t>
            </a:r>
          </a:p>
          <a:p>
            <a:pPr lvl="1"/>
            <a:r>
              <a:rPr lang="en-US" altLang="en-US" sz="2000" dirty="0">
                <a:ea typeface="ＭＳ Ｐゴシック" panose="020B0600070205080204" pitchFamily="34" charset="-128"/>
              </a:rPr>
              <a:t>Sub-Saharan Africa (SSA) ~70% of incident HIV infections</a:t>
            </a:r>
            <a:r>
              <a:rPr lang="en-US" altLang="en-US" sz="2000" baseline="30000" dirty="0">
                <a:ea typeface="ＭＳ Ｐゴシック" panose="020B0600070205080204" pitchFamily="34" charset="-128"/>
              </a:rPr>
              <a:t>1</a:t>
            </a:r>
          </a:p>
          <a:p>
            <a:pPr lvl="1"/>
            <a:endParaRPr lang="en-US" altLang="en-US" sz="2000" dirty="0">
              <a:ea typeface="ＭＳ Ｐゴシック" panose="020B0600070205080204" pitchFamily="34" charset="-128"/>
            </a:endParaRPr>
          </a:p>
          <a:p>
            <a:r>
              <a:rPr lang="en-US" altLang="en-US" dirty="0">
                <a:ea typeface="ＭＳ Ｐゴシック" panose="020B0600070205080204" pitchFamily="34" charset="-128"/>
              </a:rPr>
              <a:t>Significant proportion of individuals unaware of HIV status</a:t>
            </a:r>
          </a:p>
          <a:p>
            <a:pPr lvl="1"/>
            <a:r>
              <a:rPr lang="en-US" altLang="en-US" sz="2000" dirty="0">
                <a:ea typeface="ＭＳ Ｐゴシック" panose="020B0600070205080204" pitchFamily="34" charset="-128"/>
              </a:rPr>
              <a:t>Sexual partners of HIV positive individuals are at high risk of HIV acquisition</a:t>
            </a:r>
          </a:p>
          <a:p>
            <a:endParaRPr lang="en-US" dirty="0"/>
          </a:p>
        </p:txBody>
      </p:sp>
      <p:sp>
        <p:nvSpPr>
          <p:cNvPr id="3" name="Title 2"/>
          <p:cNvSpPr>
            <a:spLocks noGrp="1"/>
          </p:cNvSpPr>
          <p:nvPr>
            <p:ph type="title"/>
          </p:nvPr>
        </p:nvSpPr>
        <p:spPr/>
        <p:txBody>
          <a:bodyPr/>
          <a:lstStyle/>
          <a:p>
            <a:r>
              <a:rPr lang="en-US" dirty="0">
                <a:solidFill>
                  <a:schemeClr val="tx1"/>
                </a:solidFill>
              </a:rPr>
              <a:t>Index Contact Testing Rationale </a:t>
            </a:r>
          </a:p>
        </p:txBody>
      </p:sp>
    </p:spTree>
    <p:extLst>
      <p:ext uri="{BB962C8B-B14F-4D97-AF65-F5344CB8AC3E}">
        <p14:creationId xmlns:p14="http://schemas.microsoft.com/office/powerpoint/2010/main" val="8981938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1E7B193-D6D1-42BC-9C31-D5D0FE4C8B99}"/>
              </a:ext>
            </a:extLst>
          </p:cNvPr>
          <p:cNvSpPr>
            <a:spLocks noGrp="1"/>
          </p:cNvSpPr>
          <p:nvPr>
            <p:ph type="body" idx="1"/>
          </p:nvPr>
        </p:nvSpPr>
        <p:spPr>
          <a:xfrm>
            <a:off x="838200" y="1323833"/>
            <a:ext cx="10515600" cy="4853130"/>
          </a:xfrm>
        </p:spPr>
        <p:txBody>
          <a:bodyPr/>
          <a:lstStyle/>
          <a:p>
            <a:r>
              <a:rPr lang="en-US" dirty="0"/>
              <a:t>All forms of HTS, including aPNS should adhere to HTS core principals the 6Cs: </a:t>
            </a:r>
          </a:p>
          <a:p>
            <a:r>
              <a:rPr lang="en-US" b="1" dirty="0"/>
              <a:t>C</a:t>
            </a:r>
            <a:r>
              <a:rPr lang="en-US" dirty="0"/>
              <a:t>onsent, </a:t>
            </a:r>
            <a:r>
              <a:rPr lang="en-US" b="1" dirty="0"/>
              <a:t>C</a:t>
            </a:r>
            <a:r>
              <a:rPr lang="en-US" dirty="0"/>
              <a:t>onfidentiality, </a:t>
            </a:r>
            <a:r>
              <a:rPr lang="en-US" b="1" dirty="0"/>
              <a:t>C</a:t>
            </a:r>
            <a:r>
              <a:rPr lang="en-US" dirty="0"/>
              <a:t>ounselling, </a:t>
            </a:r>
            <a:r>
              <a:rPr lang="en-US" b="1" dirty="0"/>
              <a:t>C</a:t>
            </a:r>
            <a:r>
              <a:rPr lang="en-US" dirty="0"/>
              <a:t>orrect test results, </a:t>
            </a:r>
            <a:r>
              <a:rPr lang="en-US" b="1" dirty="0"/>
              <a:t>C</a:t>
            </a:r>
            <a:r>
              <a:rPr lang="en-US" dirty="0"/>
              <a:t>onnection (linkage to prevention, care and treatment services Correct environment</a:t>
            </a:r>
          </a:p>
          <a:p>
            <a:r>
              <a:rPr lang="en-US" dirty="0"/>
              <a:t>Coerced or mandatory testing is never appropriate, whether that coercion comes from a health-care provider or from a partner, family member, or any other person. </a:t>
            </a:r>
          </a:p>
          <a:p>
            <a:r>
              <a:rPr lang="en-US" dirty="0"/>
              <a:t>In addition to the 5 C’s, the following principles guide HIV partner notification services and should be considered and adhered at all times. </a:t>
            </a:r>
          </a:p>
          <a:p>
            <a:endParaRPr lang="en-US" dirty="0"/>
          </a:p>
        </p:txBody>
      </p:sp>
      <p:sp>
        <p:nvSpPr>
          <p:cNvPr id="4" name="Title 1">
            <a:extLst>
              <a:ext uri="{FF2B5EF4-FFF2-40B4-BE49-F238E27FC236}">
                <a16:creationId xmlns:a16="http://schemas.microsoft.com/office/drawing/2014/main" id="{1C50672F-8816-4846-B5A9-4B9E99A494B6}"/>
              </a:ext>
            </a:extLst>
          </p:cNvPr>
          <p:cNvSpPr>
            <a:spLocks noGrp="1"/>
          </p:cNvSpPr>
          <p:nvPr>
            <p:ph type="title"/>
          </p:nvPr>
        </p:nvSpPr>
        <p:spPr>
          <a:xfrm>
            <a:off x="838200" y="365125"/>
            <a:ext cx="10515600" cy="1325563"/>
          </a:xfrm>
        </p:spPr>
        <p:txBody>
          <a:bodyPr/>
          <a:lstStyle/>
          <a:p>
            <a:pPr lvl="1"/>
            <a:r>
              <a:rPr lang="en-US" sz="3600" b="1" dirty="0"/>
              <a:t>Index Contact Testing Index Contact Testing guiding Principles</a:t>
            </a:r>
            <a:endParaRPr lang="en-US" dirty="0"/>
          </a:p>
        </p:txBody>
      </p:sp>
    </p:spTree>
    <p:extLst>
      <p:ext uri="{BB962C8B-B14F-4D97-AF65-F5344CB8AC3E}">
        <p14:creationId xmlns:p14="http://schemas.microsoft.com/office/powerpoint/2010/main" val="3622740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ASCOP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Nascop Font">
      <a:majorFont>
        <a:latin typeface="Adobe Jenson Pro"/>
        <a:ea typeface=""/>
        <a:cs typeface=""/>
      </a:majorFont>
      <a:minorFont>
        <a:latin typeface="Adobe Garamon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ASCOP THEME" id="{E7F3D69F-E3A7-48E6-BEA5-925FC8352E73}" vid="{6B7ABAC1-8E7A-4AD4-9FFA-5E0E11CF9AD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569</TotalTime>
  <Words>3352</Words>
  <Application>Microsoft Office PowerPoint</Application>
  <PresentationFormat>Widescreen</PresentationFormat>
  <Paragraphs>251</Paragraphs>
  <Slides>35</Slides>
  <Notes>1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6" baseType="lpstr">
      <vt:lpstr>Adobe Garamond Pro</vt:lpstr>
      <vt:lpstr>Adobe Jenson Pro</vt:lpstr>
      <vt:lpstr>Arial</vt:lpstr>
      <vt:lpstr>Arial Black</vt:lpstr>
      <vt:lpstr>Calibri</vt:lpstr>
      <vt:lpstr>Courier New</vt:lpstr>
      <vt:lpstr>EB Garamond</vt:lpstr>
      <vt:lpstr>Times New Roman</vt:lpstr>
      <vt:lpstr>Wingdings</vt:lpstr>
      <vt:lpstr>NASCOP THEME</vt:lpstr>
      <vt:lpstr>think-cell Slide</vt:lpstr>
      <vt:lpstr>UNIT 8:  INDEX TESTING SERVICE</vt:lpstr>
      <vt:lpstr>Introduction to Index Contact Testing</vt:lpstr>
      <vt:lpstr>Objectives of Index Contact Testing</vt:lpstr>
      <vt:lpstr>Definition of Terms  </vt:lpstr>
      <vt:lpstr>Definition of Terms Cont..</vt:lpstr>
      <vt:lpstr>Definition of Terms Cont..</vt:lpstr>
      <vt:lpstr>Definition of Terms Cont..</vt:lpstr>
      <vt:lpstr>Index Contact Testing Rationale </vt:lpstr>
      <vt:lpstr>Index Contact Testing Index Contact Testing guiding Principles</vt:lpstr>
      <vt:lpstr>Index Contact Testing Guiding principals </vt:lpstr>
      <vt:lpstr>The Index Contact Testing concept</vt:lpstr>
      <vt:lpstr>Index Contact Testing Entry Points and Process</vt:lpstr>
      <vt:lpstr>In Index Contacts Testing Conceptual Frameworkg Index Contacts Testing </vt:lpstr>
      <vt:lpstr>Policies and Guidance</vt:lpstr>
      <vt:lpstr>Thank you</vt:lpstr>
      <vt:lpstr>Passive HIV Partner Notification Services</vt:lpstr>
      <vt:lpstr>Index contact testing services</vt:lpstr>
      <vt:lpstr>Benefits of Index contact testing</vt:lpstr>
      <vt:lpstr>Benefits of Index contact testing</vt:lpstr>
      <vt:lpstr>Key considerations in Index contact testing include</vt:lpstr>
      <vt:lpstr>Key considerations in Index contact testing include Cont…</vt:lpstr>
      <vt:lpstr>Ethical Issues in Index contact testing </vt:lpstr>
      <vt:lpstr>Social Network Strategy  Review</vt:lpstr>
      <vt:lpstr>What is social network strategy (SNS) for HTS?</vt:lpstr>
      <vt:lpstr> Social Network Strategy</vt:lpstr>
      <vt:lpstr>Recruitment Through Coupons/Vouchers</vt:lpstr>
      <vt:lpstr>Four Phases of SNS </vt:lpstr>
      <vt:lpstr>SNS Implementation – Four Phases</vt:lpstr>
      <vt:lpstr>Seeds should be:</vt:lpstr>
      <vt:lpstr>Instruction includes:</vt:lpstr>
      <vt:lpstr>Recruitment Instruction Sheet</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me of Program:</dc:title>
  <dc:creator>Future</dc:creator>
  <cp:lastModifiedBy>Sumukwo Abraham</cp:lastModifiedBy>
  <cp:revision>112</cp:revision>
  <dcterms:created xsi:type="dcterms:W3CDTF">2022-01-19T04:00:30Z</dcterms:created>
  <dcterms:modified xsi:type="dcterms:W3CDTF">2023-02-03T09:51:50Z</dcterms:modified>
</cp:coreProperties>
</file>